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tmp" ContentType="image/png"/>
  <Default Extension="wmf" ContentType="image/x-wmf"/>
  <Default Extension="xml" ContentType="application/xml"/>
  <Override PartName="/ppt/presentation.xml" ContentType="application/vnd.ms-powerpoint.presentation.macroEnabled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7"/>
  </p:notesMasterIdLst>
  <p:handoutMasterIdLst>
    <p:handoutMasterId r:id="rId8"/>
  </p:handoutMasterIdLst>
  <p:sldIdLst>
    <p:sldId id="2078559032" r:id="rId5"/>
    <p:sldId id="2078559033" r:id="rId6"/>
  </p:sldIdLst>
  <p:sldSz cx="12192000" cy="6858000"/>
  <p:notesSz cx="6858000" cy="9144000"/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162">
          <p15:clr>
            <a:srgbClr val="A4A3A4"/>
          </p15:clr>
        </p15:guide>
        <p15:guide id="4" orient="horz" pos="3974">
          <p15:clr>
            <a:srgbClr val="A4A3A4"/>
          </p15:clr>
        </p15:guide>
        <p15:guide id="5" orient="horz" pos="210">
          <p15:clr>
            <a:srgbClr val="A4A3A4"/>
          </p15:clr>
        </p15:guide>
        <p15:guide id="6" pos="257">
          <p15:clr>
            <a:srgbClr val="A4A3A4"/>
          </p15:clr>
        </p15:guide>
        <p15:guide id="7" pos="742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9D31"/>
    <a:srgbClr val="FDA100"/>
    <a:srgbClr val="756F6F"/>
    <a:srgbClr val="000000"/>
    <a:srgbClr val="404041"/>
    <a:srgbClr val="F2F2F2"/>
    <a:srgbClr val="00A1DE"/>
    <a:srgbClr val="A2AD00"/>
    <a:srgbClr val="FDC82F"/>
    <a:srgbClr val="FF7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21E4AEA4-8DFA-4A89-87EB-49C32662AFE0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420" autoAdjust="0"/>
    <p:restoredTop sz="94660"/>
  </p:normalViewPr>
  <p:slideViewPr>
    <p:cSldViewPr showGuides="1">
      <p:cViewPr varScale="1">
        <p:scale>
          <a:sx n="160" d="100"/>
          <a:sy n="160" d="100"/>
        </p:scale>
        <p:origin x="390" y="138"/>
      </p:cViewPr>
      <p:guideLst>
        <p:guide orient="horz" pos="2160"/>
        <p:guide pos="3840"/>
        <p:guide orient="horz" pos="1162"/>
        <p:guide orient="horz" pos="3974"/>
        <p:guide orient="horz" pos="210"/>
        <p:guide pos="257"/>
        <p:guide pos="7423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howGuides="1">
      <p:cViewPr varScale="1">
        <p:scale>
          <a:sx n="86" d="100"/>
          <a:sy n="86" d="100"/>
        </p:scale>
        <p:origin x="-3810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 sz="80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AC61CC-17BC-4113-9E3F-E301573EEB4A}" type="datetimeFigureOut">
              <a:rPr lang="fi-FI" sz="800" smtClean="0"/>
              <a:t>31.3.2025</a:t>
            </a:fld>
            <a:endParaRPr lang="fi-FI" sz="8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 sz="8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3E736E-A8D8-49F8-AAF9-3FA46C2315A9}" type="slidenum">
              <a:rPr lang="fi-FI" sz="800" smtClean="0"/>
              <a:t>‹#›</a:t>
            </a:fld>
            <a:endParaRPr lang="fi-FI" sz="800"/>
          </a:p>
        </p:txBody>
      </p:sp>
    </p:spTree>
    <p:extLst>
      <p:ext uri="{BB962C8B-B14F-4D97-AF65-F5344CB8AC3E}">
        <p14:creationId xmlns:p14="http://schemas.microsoft.com/office/powerpoint/2010/main" val="16245482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800"/>
            </a:lvl1pPr>
          </a:lstStyle>
          <a:p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800"/>
            </a:lvl1pPr>
          </a:lstStyle>
          <a:p>
            <a:fld id="{A283631E-EBC9-4E9F-899E-7E0EA738185C}" type="datetimeFigureOut">
              <a:rPr lang="fi-FI" smtClean="0"/>
              <a:pPr/>
              <a:t>31.3.2025</a:t>
            </a:fld>
            <a:endParaRPr lang="fi-FI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/>
            </a:lvl1pPr>
          </a:lstStyle>
          <a:p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800"/>
            </a:lvl1pPr>
          </a:lstStyle>
          <a:p>
            <a:fld id="{0D9B3451-8286-48BB-AE4F-95738AF79201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223242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D9B3451-8286-48BB-AE4F-95738AF79201}" type="slidenum">
              <a:rPr lang="fi-FI" smtClean="0"/>
              <a:pPr/>
              <a:t>2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624062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4652963"/>
            <a:ext cx="12192000" cy="2124075"/>
          </a:xfrm>
          <a:solidFill>
            <a:srgbClr val="F2F2F2">
              <a:alpha val="40000"/>
            </a:srgbClr>
          </a:solidFill>
        </p:spPr>
        <p:txBody>
          <a:bodyPr lIns="756000" tIns="504000" rIns="756000" bIns="936000" anchor="t" anchorCtr="0"/>
          <a:lstStyle>
            <a:lvl1pPr algn="l">
              <a:lnSpc>
                <a:spcPct val="85000"/>
              </a:lnSpc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6763" y="5949350"/>
            <a:ext cx="11017249" cy="359374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EAB3B1D9-5529-4186-8634-E90761927DBE}" type="datetime1">
              <a:rPr lang="fi-FI" smtClean="0"/>
              <a:t>31.3.2025</a:t>
            </a:fld>
            <a:endParaRPr lang="en-US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Presentation name and Author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50B285B-2D20-4CC2-81CD-215A1F1E113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28600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6763" y="5085230"/>
            <a:ext cx="3889037" cy="936130"/>
          </a:xfrm>
        </p:spPr>
        <p:txBody>
          <a:bodyPr anchor="t" anchorCtr="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CB18748B-A1A6-45E9-A4A1-FBF67E69C8AB}" type="datetime1">
              <a:rPr lang="fi-FI" smtClean="0"/>
              <a:t>31.3.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Presentation name and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50B285B-2D20-4CC2-81CD-215A1F1E113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5375275" y="0"/>
            <a:ext cx="6816725" cy="6777038"/>
          </a:xfr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grpSp>
        <p:nvGrpSpPr>
          <p:cNvPr id="11" name="Group 10"/>
          <p:cNvGrpSpPr>
            <a:grpSpLocks noChangeAspect="1"/>
          </p:cNvGrpSpPr>
          <p:nvPr userDrawn="1"/>
        </p:nvGrpSpPr>
        <p:grpSpPr>
          <a:xfrm>
            <a:off x="767260" y="566640"/>
            <a:ext cx="1703100" cy="270000"/>
            <a:chOff x="1455738" y="2698750"/>
            <a:chExt cx="9272588" cy="1470025"/>
          </a:xfrm>
        </p:grpSpPr>
        <p:sp>
          <p:nvSpPr>
            <p:cNvPr id="13" name="Freeform 6"/>
            <p:cNvSpPr>
              <a:spLocks noEditPoints="1"/>
            </p:cNvSpPr>
            <p:nvPr userDrawn="1"/>
          </p:nvSpPr>
          <p:spPr bwMode="auto">
            <a:xfrm>
              <a:off x="1455738" y="2698750"/>
              <a:ext cx="2762250" cy="1416050"/>
            </a:xfrm>
            <a:custGeom>
              <a:avLst/>
              <a:gdLst>
                <a:gd name="T0" fmla="*/ 1740 w 1740"/>
                <a:gd name="T1" fmla="*/ 192 h 892"/>
                <a:gd name="T2" fmla="*/ 1591 w 1740"/>
                <a:gd name="T3" fmla="*/ 483 h 892"/>
                <a:gd name="T4" fmla="*/ 1457 w 1740"/>
                <a:gd name="T5" fmla="*/ 741 h 892"/>
                <a:gd name="T6" fmla="*/ 1047 w 1740"/>
                <a:gd name="T7" fmla="*/ 709 h 892"/>
                <a:gd name="T8" fmla="*/ 607 w 1740"/>
                <a:gd name="T9" fmla="*/ 713 h 892"/>
                <a:gd name="T10" fmla="*/ 257 w 1740"/>
                <a:gd name="T11" fmla="*/ 742 h 892"/>
                <a:gd name="T12" fmla="*/ 149 w 1740"/>
                <a:gd name="T13" fmla="*/ 483 h 892"/>
                <a:gd name="T14" fmla="*/ 0 w 1740"/>
                <a:gd name="T15" fmla="*/ 189 h 892"/>
                <a:gd name="T16" fmla="*/ 36 w 1740"/>
                <a:gd name="T17" fmla="*/ 180 h 892"/>
                <a:gd name="T18" fmla="*/ 121 w 1740"/>
                <a:gd name="T19" fmla="*/ 218 h 892"/>
                <a:gd name="T20" fmla="*/ 194 w 1740"/>
                <a:gd name="T21" fmla="*/ 280 h 892"/>
                <a:gd name="T22" fmla="*/ 249 w 1740"/>
                <a:gd name="T23" fmla="*/ 235 h 892"/>
                <a:gd name="T24" fmla="*/ 335 w 1740"/>
                <a:gd name="T25" fmla="*/ 232 h 892"/>
                <a:gd name="T26" fmla="*/ 390 w 1740"/>
                <a:gd name="T27" fmla="*/ 272 h 892"/>
                <a:gd name="T28" fmla="*/ 362 w 1740"/>
                <a:gd name="T29" fmla="*/ 310 h 892"/>
                <a:gd name="T30" fmla="*/ 334 w 1740"/>
                <a:gd name="T31" fmla="*/ 386 h 892"/>
                <a:gd name="T32" fmla="*/ 344 w 1740"/>
                <a:gd name="T33" fmla="*/ 462 h 892"/>
                <a:gd name="T34" fmla="*/ 405 w 1740"/>
                <a:gd name="T35" fmla="*/ 538 h 892"/>
                <a:gd name="T36" fmla="*/ 492 w 1740"/>
                <a:gd name="T37" fmla="*/ 572 h 892"/>
                <a:gd name="T38" fmla="*/ 590 w 1740"/>
                <a:gd name="T39" fmla="*/ 561 h 892"/>
                <a:gd name="T40" fmla="*/ 658 w 1740"/>
                <a:gd name="T41" fmla="*/ 519 h 892"/>
                <a:gd name="T42" fmla="*/ 706 w 1740"/>
                <a:gd name="T43" fmla="*/ 439 h 892"/>
                <a:gd name="T44" fmla="*/ 704 w 1740"/>
                <a:gd name="T45" fmla="*/ 352 h 892"/>
                <a:gd name="T46" fmla="*/ 653 w 1740"/>
                <a:gd name="T47" fmla="*/ 275 h 892"/>
                <a:gd name="T48" fmla="*/ 596 w 1740"/>
                <a:gd name="T49" fmla="*/ 239 h 892"/>
                <a:gd name="T50" fmla="*/ 615 w 1740"/>
                <a:gd name="T51" fmla="*/ 201 h 892"/>
                <a:gd name="T52" fmla="*/ 678 w 1740"/>
                <a:gd name="T53" fmla="*/ 167 h 892"/>
                <a:gd name="T54" fmla="*/ 760 w 1740"/>
                <a:gd name="T55" fmla="*/ 178 h 892"/>
                <a:gd name="T56" fmla="*/ 790 w 1740"/>
                <a:gd name="T57" fmla="*/ 100 h 892"/>
                <a:gd name="T58" fmla="*/ 822 w 1740"/>
                <a:gd name="T59" fmla="*/ 39 h 892"/>
                <a:gd name="T60" fmla="*/ 871 w 1740"/>
                <a:gd name="T61" fmla="*/ 0 h 892"/>
                <a:gd name="T62" fmla="*/ 920 w 1740"/>
                <a:gd name="T63" fmla="*/ 39 h 892"/>
                <a:gd name="T64" fmla="*/ 962 w 1740"/>
                <a:gd name="T65" fmla="*/ 152 h 892"/>
                <a:gd name="T66" fmla="*/ 1027 w 1740"/>
                <a:gd name="T67" fmla="*/ 165 h 892"/>
                <a:gd name="T68" fmla="*/ 1093 w 1740"/>
                <a:gd name="T69" fmla="*/ 177 h 892"/>
                <a:gd name="T70" fmla="*/ 1145 w 1740"/>
                <a:gd name="T71" fmla="*/ 228 h 892"/>
                <a:gd name="T72" fmla="*/ 1134 w 1740"/>
                <a:gd name="T73" fmla="*/ 245 h 892"/>
                <a:gd name="T74" fmla="*/ 1062 w 1740"/>
                <a:gd name="T75" fmla="*/ 301 h 892"/>
                <a:gd name="T76" fmla="*/ 1033 w 1740"/>
                <a:gd name="T77" fmla="*/ 364 h 892"/>
                <a:gd name="T78" fmla="*/ 1037 w 1740"/>
                <a:gd name="T79" fmla="*/ 447 h 892"/>
                <a:gd name="T80" fmla="*/ 1076 w 1740"/>
                <a:gd name="T81" fmla="*/ 513 h 892"/>
                <a:gd name="T82" fmla="*/ 1159 w 1740"/>
                <a:gd name="T83" fmla="*/ 564 h 892"/>
                <a:gd name="T84" fmla="*/ 1257 w 1740"/>
                <a:gd name="T85" fmla="*/ 570 h 892"/>
                <a:gd name="T86" fmla="*/ 1348 w 1740"/>
                <a:gd name="T87" fmla="*/ 527 h 892"/>
                <a:gd name="T88" fmla="*/ 1393 w 1740"/>
                <a:gd name="T89" fmla="*/ 470 h 892"/>
                <a:gd name="T90" fmla="*/ 1406 w 1740"/>
                <a:gd name="T91" fmla="*/ 386 h 892"/>
                <a:gd name="T92" fmla="*/ 1378 w 1740"/>
                <a:gd name="T93" fmla="*/ 310 h 892"/>
                <a:gd name="T94" fmla="*/ 1350 w 1740"/>
                <a:gd name="T95" fmla="*/ 270 h 892"/>
                <a:gd name="T96" fmla="*/ 1400 w 1740"/>
                <a:gd name="T97" fmla="*/ 234 h 892"/>
                <a:gd name="T98" fmla="*/ 1468 w 1740"/>
                <a:gd name="T99" fmla="*/ 228 h 892"/>
                <a:gd name="T100" fmla="*/ 1530 w 1740"/>
                <a:gd name="T101" fmla="*/ 261 h 892"/>
                <a:gd name="T102" fmla="*/ 1602 w 1740"/>
                <a:gd name="T103" fmla="*/ 232 h 892"/>
                <a:gd name="T104" fmla="*/ 1696 w 1740"/>
                <a:gd name="T105" fmla="*/ 181 h 892"/>
                <a:gd name="T106" fmla="*/ 1458 w 1740"/>
                <a:gd name="T107" fmla="*/ 812 h 892"/>
                <a:gd name="T108" fmla="*/ 1432 w 1740"/>
                <a:gd name="T109" fmla="*/ 892 h 892"/>
                <a:gd name="T110" fmla="*/ 946 w 1740"/>
                <a:gd name="T111" fmla="*/ 861 h 892"/>
                <a:gd name="T112" fmla="*/ 313 w 1740"/>
                <a:gd name="T113" fmla="*/ 892 h 892"/>
                <a:gd name="T114" fmla="*/ 280 w 1740"/>
                <a:gd name="T115" fmla="*/ 816 h 892"/>
                <a:gd name="T116" fmla="*/ 457 w 1740"/>
                <a:gd name="T117" fmla="*/ 790 h 892"/>
                <a:gd name="T118" fmla="*/ 914 w 1740"/>
                <a:gd name="T119" fmla="*/ 772 h 892"/>
                <a:gd name="T120" fmla="*/ 1449 w 1740"/>
                <a:gd name="T121" fmla="*/ 806 h 8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40" h="892">
                  <a:moveTo>
                    <a:pt x="1729" y="178"/>
                  </a:moveTo>
                  <a:lnTo>
                    <a:pt x="1734" y="179"/>
                  </a:lnTo>
                  <a:lnTo>
                    <a:pt x="1735" y="180"/>
                  </a:lnTo>
                  <a:lnTo>
                    <a:pt x="1737" y="181"/>
                  </a:lnTo>
                  <a:lnTo>
                    <a:pt x="1738" y="182"/>
                  </a:lnTo>
                  <a:lnTo>
                    <a:pt x="1739" y="184"/>
                  </a:lnTo>
                  <a:lnTo>
                    <a:pt x="1740" y="186"/>
                  </a:lnTo>
                  <a:lnTo>
                    <a:pt x="1740" y="188"/>
                  </a:lnTo>
                  <a:lnTo>
                    <a:pt x="1740" y="192"/>
                  </a:lnTo>
                  <a:lnTo>
                    <a:pt x="1738" y="194"/>
                  </a:lnTo>
                  <a:lnTo>
                    <a:pt x="1718" y="230"/>
                  </a:lnTo>
                  <a:lnTo>
                    <a:pt x="1698" y="266"/>
                  </a:lnTo>
                  <a:lnTo>
                    <a:pt x="1678" y="302"/>
                  </a:lnTo>
                  <a:lnTo>
                    <a:pt x="1659" y="338"/>
                  </a:lnTo>
                  <a:lnTo>
                    <a:pt x="1641" y="375"/>
                  </a:lnTo>
                  <a:lnTo>
                    <a:pt x="1624" y="411"/>
                  </a:lnTo>
                  <a:lnTo>
                    <a:pt x="1607" y="447"/>
                  </a:lnTo>
                  <a:lnTo>
                    <a:pt x="1591" y="483"/>
                  </a:lnTo>
                  <a:lnTo>
                    <a:pt x="1561" y="552"/>
                  </a:lnTo>
                  <a:lnTo>
                    <a:pt x="1534" y="618"/>
                  </a:lnTo>
                  <a:lnTo>
                    <a:pt x="1510" y="680"/>
                  </a:lnTo>
                  <a:lnTo>
                    <a:pt x="1489" y="736"/>
                  </a:lnTo>
                  <a:lnTo>
                    <a:pt x="1488" y="739"/>
                  </a:lnTo>
                  <a:lnTo>
                    <a:pt x="1485" y="741"/>
                  </a:lnTo>
                  <a:lnTo>
                    <a:pt x="1482" y="743"/>
                  </a:lnTo>
                  <a:lnTo>
                    <a:pt x="1479" y="743"/>
                  </a:lnTo>
                  <a:lnTo>
                    <a:pt x="1457" y="741"/>
                  </a:lnTo>
                  <a:lnTo>
                    <a:pt x="1412" y="736"/>
                  </a:lnTo>
                  <a:lnTo>
                    <a:pt x="1385" y="733"/>
                  </a:lnTo>
                  <a:lnTo>
                    <a:pt x="1356" y="730"/>
                  </a:lnTo>
                  <a:lnTo>
                    <a:pt x="1324" y="727"/>
                  </a:lnTo>
                  <a:lnTo>
                    <a:pt x="1289" y="724"/>
                  </a:lnTo>
                  <a:lnTo>
                    <a:pt x="1214" y="718"/>
                  </a:lnTo>
                  <a:lnTo>
                    <a:pt x="1133" y="713"/>
                  </a:lnTo>
                  <a:lnTo>
                    <a:pt x="1090" y="711"/>
                  </a:lnTo>
                  <a:lnTo>
                    <a:pt x="1047" y="709"/>
                  </a:lnTo>
                  <a:lnTo>
                    <a:pt x="1003" y="708"/>
                  </a:lnTo>
                  <a:lnTo>
                    <a:pt x="959" y="707"/>
                  </a:lnTo>
                  <a:lnTo>
                    <a:pt x="915" y="706"/>
                  </a:lnTo>
                  <a:lnTo>
                    <a:pt x="871" y="706"/>
                  </a:lnTo>
                  <a:lnTo>
                    <a:pt x="826" y="706"/>
                  </a:lnTo>
                  <a:lnTo>
                    <a:pt x="782" y="707"/>
                  </a:lnTo>
                  <a:lnTo>
                    <a:pt x="738" y="708"/>
                  </a:lnTo>
                  <a:lnTo>
                    <a:pt x="693" y="709"/>
                  </a:lnTo>
                  <a:lnTo>
                    <a:pt x="607" y="713"/>
                  </a:lnTo>
                  <a:lnTo>
                    <a:pt x="526" y="718"/>
                  </a:lnTo>
                  <a:lnTo>
                    <a:pt x="488" y="721"/>
                  </a:lnTo>
                  <a:lnTo>
                    <a:pt x="451" y="724"/>
                  </a:lnTo>
                  <a:lnTo>
                    <a:pt x="384" y="730"/>
                  </a:lnTo>
                  <a:lnTo>
                    <a:pt x="328" y="736"/>
                  </a:lnTo>
                  <a:lnTo>
                    <a:pt x="284" y="741"/>
                  </a:lnTo>
                  <a:lnTo>
                    <a:pt x="263" y="743"/>
                  </a:lnTo>
                  <a:lnTo>
                    <a:pt x="259" y="743"/>
                  </a:lnTo>
                  <a:lnTo>
                    <a:pt x="257" y="742"/>
                  </a:lnTo>
                  <a:lnTo>
                    <a:pt x="255" y="741"/>
                  </a:lnTo>
                  <a:lnTo>
                    <a:pt x="254" y="740"/>
                  </a:lnTo>
                  <a:lnTo>
                    <a:pt x="253" y="739"/>
                  </a:lnTo>
                  <a:lnTo>
                    <a:pt x="251" y="736"/>
                  </a:lnTo>
                  <a:lnTo>
                    <a:pt x="230" y="680"/>
                  </a:lnTo>
                  <a:lnTo>
                    <a:pt x="206" y="618"/>
                  </a:lnTo>
                  <a:lnTo>
                    <a:pt x="179" y="552"/>
                  </a:lnTo>
                  <a:lnTo>
                    <a:pt x="164" y="518"/>
                  </a:lnTo>
                  <a:lnTo>
                    <a:pt x="149" y="483"/>
                  </a:lnTo>
                  <a:lnTo>
                    <a:pt x="116" y="411"/>
                  </a:lnTo>
                  <a:lnTo>
                    <a:pt x="99" y="374"/>
                  </a:lnTo>
                  <a:lnTo>
                    <a:pt x="81" y="338"/>
                  </a:lnTo>
                  <a:lnTo>
                    <a:pt x="62" y="302"/>
                  </a:lnTo>
                  <a:lnTo>
                    <a:pt x="42" y="266"/>
                  </a:lnTo>
                  <a:lnTo>
                    <a:pt x="22" y="230"/>
                  </a:lnTo>
                  <a:lnTo>
                    <a:pt x="2" y="194"/>
                  </a:lnTo>
                  <a:lnTo>
                    <a:pt x="1" y="191"/>
                  </a:lnTo>
                  <a:lnTo>
                    <a:pt x="0" y="189"/>
                  </a:lnTo>
                  <a:lnTo>
                    <a:pt x="0" y="186"/>
                  </a:lnTo>
                  <a:lnTo>
                    <a:pt x="2" y="183"/>
                  </a:lnTo>
                  <a:lnTo>
                    <a:pt x="3" y="181"/>
                  </a:lnTo>
                  <a:lnTo>
                    <a:pt x="6" y="179"/>
                  </a:lnTo>
                  <a:lnTo>
                    <a:pt x="8" y="178"/>
                  </a:lnTo>
                  <a:lnTo>
                    <a:pt x="11" y="178"/>
                  </a:lnTo>
                  <a:lnTo>
                    <a:pt x="19" y="178"/>
                  </a:lnTo>
                  <a:lnTo>
                    <a:pt x="28" y="179"/>
                  </a:lnTo>
                  <a:lnTo>
                    <a:pt x="36" y="180"/>
                  </a:lnTo>
                  <a:lnTo>
                    <a:pt x="44" y="181"/>
                  </a:lnTo>
                  <a:lnTo>
                    <a:pt x="52" y="183"/>
                  </a:lnTo>
                  <a:lnTo>
                    <a:pt x="59" y="186"/>
                  </a:lnTo>
                  <a:lnTo>
                    <a:pt x="74" y="191"/>
                  </a:lnTo>
                  <a:lnTo>
                    <a:pt x="82" y="194"/>
                  </a:lnTo>
                  <a:lnTo>
                    <a:pt x="89" y="198"/>
                  </a:lnTo>
                  <a:lnTo>
                    <a:pt x="102" y="205"/>
                  </a:lnTo>
                  <a:lnTo>
                    <a:pt x="115" y="214"/>
                  </a:lnTo>
                  <a:lnTo>
                    <a:pt x="121" y="218"/>
                  </a:lnTo>
                  <a:lnTo>
                    <a:pt x="127" y="223"/>
                  </a:lnTo>
                  <a:lnTo>
                    <a:pt x="133" y="227"/>
                  </a:lnTo>
                  <a:lnTo>
                    <a:pt x="138" y="232"/>
                  </a:lnTo>
                  <a:lnTo>
                    <a:pt x="149" y="241"/>
                  </a:lnTo>
                  <a:lnTo>
                    <a:pt x="167" y="259"/>
                  </a:lnTo>
                  <a:lnTo>
                    <a:pt x="174" y="267"/>
                  </a:lnTo>
                  <a:lnTo>
                    <a:pt x="181" y="275"/>
                  </a:lnTo>
                  <a:lnTo>
                    <a:pt x="190" y="287"/>
                  </a:lnTo>
                  <a:lnTo>
                    <a:pt x="194" y="280"/>
                  </a:lnTo>
                  <a:lnTo>
                    <a:pt x="199" y="273"/>
                  </a:lnTo>
                  <a:lnTo>
                    <a:pt x="204" y="267"/>
                  </a:lnTo>
                  <a:lnTo>
                    <a:pt x="210" y="261"/>
                  </a:lnTo>
                  <a:lnTo>
                    <a:pt x="216" y="256"/>
                  </a:lnTo>
                  <a:lnTo>
                    <a:pt x="222" y="251"/>
                  </a:lnTo>
                  <a:lnTo>
                    <a:pt x="228" y="246"/>
                  </a:lnTo>
                  <a:lnTo>
                    <a:pt x="235" y="242"/>
                  </a:lnTo>
                  <a:lnTo>
                    <a:pt x="242" y="238"/>
                  </a:lnTo>
                  <a:lnTo>
                    <a:pt x="249" y="235"/>
                  </a:lnTo>
                  <a:lnTo>
                    <a:pt x="264" y="230"/>
                  </a:lnTo>
                  <a:lnTo>
                    <a:pt x="272" y="228"/>
                  </a:lnTo>
                  <a:lnTo>
                    <a:pt x="280" y="227"/>
                  </a:lnTo>
                  <a:lnTo>
                    <a:pt x="288" y="226"/>
                  </a:lnTo>
                  <a:lnTo>
                    <a:pt x="296" y="226"/>
                  </a:lnTo>
                  <a:lnTo>
                    <a:pt x="309" y="226"/>
                  </a:lnTo>
                  <a:lnTo>
                    <a:pt x="316" y="227"/>
                  </a:lnTo>
                  <a:lnTo>
                    <a:pt x="322" y="228"/>
                  </a:lnTo>
                  <a:lnTo>
                    <a:pt x="335" y="232"/>
                  </a:lnTo>
                  <a:lnTo>
                    <a:pt x="346" y="236"/>
                  </a:lnTo>
                  <a:lnTo>
                    <a:pt x="358" y="242"/>
                  </a:lnTo>
                  <a:lnTo>
                    <a:pt x="368" y="249"/>
                  </a:lnTo>
                  <a:lnTo>
                    <a:pt x="374" y="253"/>
                  </a:lnTo>
                  <a:lnTo>
                    <a:pt x="378" y="257"/>
                  </a:lnTo>
                  <a:lnTo>
                    <a:pt x="388" y="266"/>
                  </a:lnTo>
                  <a:lnTo>
                    <a:pt x="389" y="268"/>
                  </a:lnTo>
                  <a:lnTo>
                    <a:pt x="390" y="270"/>
                  </a:lnTo>
                  <a:lnTo>
                    <a:pt x="390" y="272"/>
                  </a:lnTo>
                  <a:lnTo>
                    <a:pt x="390" y="274"/>
                  </a:lnTo>
                  <a:lnTo>
                    <a:pt x="390" y="276"/>
                  </a:lnTo>
                  <a:lnTo>
                    <a:pt x="389" y="278"/>
                  </a:lnTo>
                  <a:lnTo>
                    <a:pt x="388" y="280"/>
                  </a:lnTo>
                  <a:lnTo>
                    <a:pt x="387" y="281"/>
                  </a:lnTo>
                  <a:lnTo>
                    <a:pt x="380" y="288"/>
                  </a:lnTo>
                  <a:lnTo>
                    <a:pt x="374" y="295"/>
                  </a:lnTo>
                  <a:lnTo>
                    <a:pt x="368" y="303"/>
                  </a:lnTo>
                  <a:lnTo>
                    <a:pt x="362" y="310"/>
                  </a:lnTo>
                  <a:lnTo>
                    <a:pt x="357" y="318"/>
                  </a:lnTo>
                  <a:lnTo>
                    <a:pt x="353" y="326"/>
                  </a:lnTo>
                  <a:lnTo>
                    <a:pt x="349" y="334"/>
                  </a:lnTo>
                  <a:lnTo>
                    <a:pt x="345" y="342"/>
                  </a:lnTo>
                  <a:lnTo>
                    <a:pt x="342" y="351"/>
                  </a:lnTo>
                  <a:lnTo>
                    <a:pt x="339" y="360"/>
                  </a:lnTo>
                  <a:lnTo>
                    <a:pt x="337" y="368"/>
                  </a:lnTo>
                  <a:lnTo>
                    <a:pt x="335" y="377"/>
                  </a:lnTo>
                  <a:lnTo>
                    <a:pt x="334" y="386"/>
                  </a:lnTo>
                  <a:lnTo>
                    <a:pt x="333" y="395"/>
                  </a:lnTo>
                  <a:lnTo>
                    <a:pt x="333" y="404"/>
                  </a:lnTo>
                  <a:lnTo>
                    <a:pt x="333" y="414"/>
                  </a:lnTo>
                  <a:lnTo>
                    <a:pt x="334" y="422"/>
                  </a:lnTo>
                  <a:lnTo>
                    <a:pt x="335" y="430"/>
                  </a:lnTo>
                  <a:lnTo>
                    <a:pt x="337" y="438"/>
                  </a:lnTo>
                  <a:lnTo>
                    <a:pt x="339" y="446"/>
                  </a:lnTo>
                  <a:lnTo>
                    <a:pt x="342" y="454"/>
                  </a:lnTo>
                  <a:lnTo>
                    <a:pt x="344" y="462"/>
                  </a:lnTo>
                  <a:lnTo>
                    <a:pt x="348" y="470"/>
                  </a:lnTo>
                  <a:lnTo>
                    <a:pt x="351" y="477"/>
                  </a:lnTo>
                  <a:lnTo>
                    <a:pt x="355" y="484"/>
                  </a:lnTo>
                  <a:lnTo>
                    <a:pt x="360" y="491"/>
                  </a:lnTo>
                  <a:lnTo>
                    <a:pt x="369" y="504"/>
                  </a:lnTo>
                  <a:lnTo>
                    <a:pt x="380" y="516"/>
                  </a:lnTo>
                  <a:lnTo>
                    <a:pt x="386" y="522"/>
                  </a:lnTo>
                  <a:lnTo>
                    <a:pt x="392" y="527"/>
                  </a:lnTo>
                  <a:lnTo>
                    <a:pt x="405" y="538"/>
                  </a:lnTo>
                  <a:lnTo>
                    <a:pt x="412" y="542"/>
                  </a:lnTo>
                  <a:lnTo>
                    <a:pt x="419" y="547"/>
                  </a:lnTo>
                  <a:lnTo>
                    <a:pt x="434" y="555"/>
                  </a:lnTo>
                  <a:lnTo>
                    <a:pt x="442" y="558"/>
                  </a:lnTo>
                  <a:lnTo>
                    <a:pt x="450" y="561"/>
                  </a:lnTo>
                  <a:lnTo>
                    <a:pt x="466" y="566"/>
                  </a:lnTo>
                  <a:lnTo>
                    <a:pt x="475" y="569"/>
                  </a:lnTo>
                  <a:lnTo>
                    <a:pt x="484" y="570"/>
                  </a:lnTo>
                  <a:lnTo>
                    <a:pt x="492" y="572"/>
                  </a:lnTo>
                  <a:lnTo>
                    <a:pt x="501" y="573"/>
                  </a:lnTo>
                  <a:lnTo>
                    <a:pt x="519" y="573"/>
                  </a:lnTo>
                  <a:lnTo>
                    <a:pt x="534" y="573"/>
                  </a:lnTo>
                  <a:lnTo>
                    <a:pt x="544" y="572"/>
                  </a:lnTo>
                  <a:lnTo>
                    <a:pt x="553" y="571"/>
                  </a:lnTo>
                  <a:lnTo>
                    <a:pt x="563" y="569"/>
                  </a:lnTo>
                  <a:lnTo>
                    <a:pt x="572" y="567"/>
                  </a:lnTo>
                  <a:lnTo>
                    <a:pt x="581" y="564"/>
                  </a:lnTo>
                  <a:lnTo>
                    <a:pt x="590" y="561"/>
                  </a:lnTo>
                  <a:lnTo>
                    <a:pt x="598" y="558"/>
                  </a:lnTo>
                  <a:lnTo>
                    <a:pt x="607" y="554"/>
                  </a:lnTo>
                  <a:lnTo>
                    <a:pt x="615" y="550"/>
                  </a:lnTo>
                  <a:lnTo>
                    <a:pt x="623" y="546"/>
                  </a:lnTo>
                  <a:lnTo>
                    <a:pt x="630" y="541"/>
                  </a:lnTo>
                  <a:lnTo>
                    <a:pt x="637" y="536"/>
                  </a:lnTo>
                  <a:lnTo>
                    <a:pt x="645" y="531"/>
                  </a:lnTo>
                  <a:lnTo>
                    <a:pt x="651" y="525"/>
                  </a:lnTo>
                  <a:lnTo>
                    <a:pt x="658" y="519"/>
                  </a:lnTo>
                  <a:lnTo>
                    <a:pt x="664" y="513"/>
                  </a:lnTo>
                  <a:lnTo>
                    <a:pt x="670" y="507"/>
                  </a:lnTo>
                  <a:lnTo>
                    <a:pt x="675" y="500"/>
                  </a:lnTo>
                  <a:lnTo>
                    <a:pt x="685" y="486"/>
                  </a:lnTo>
                  <a:lnTo>
                    <a:pt x="690" y="479"/>
                  </a:lnTo>
                  <a:lnTo>
                    <a:pt x="694" y="471"/>
                  </a:lnTo>
                  <a:lnTo>
                    <a:pt x="701" y="455"/>
                  </a:lnTo>
                  <a:lnTo>
                    <a:pt x="703" y="447"/>
                  </a:lnTo>
                  <a:lnTo>
                    <a:pt x="706" y="439"/>
                  </a:lnTo>
                  <a:lnTo>
                    <a:pt x="708" y="430"/>
                  </a:lnTo>
                  <a:lnTo>
                    <a:pt x="709" y="422"/>
                  </a:lnTo>
                  <a:lnTo>
                    <a:pt x="710" y="413"/>
                  </a:lnTo>
                  <a:lnTo>
                    <a:pt x="711" y="405"/>
                  </a:lnTo>
                  <a:lnTo>
                    <a:pt x="711" y="396"/>
                  </a:lnTo>
                  <a:lnTo>
                    <a:pt x="711" y="387"/>
                  </a:lnTo>
                  <a:lnTo>
                    <a:pt x="709" y="375"/>
                  </a:lnTo>
                  <a:lnTo>
                    <a:pt x="707" y="364"/>
                  </a:lnTo>
                  <a:lnTo>
                    <a:pt x="704" y="352"/>
                  </a:lnTo>
                  <a:lnTo>
                    <a:pt x="701" y="341"/>
                  </a:lnTo>
                  <a:lnTo>
                    <a:pt x="696" y="331"/>
                  </a:lnTo>
                  <a:lnTo>
                    <a:pt x="691" y="320"/>
                  </a:lnTo>
                  <a:lnTo>
                    <a:pt x="685" y="310"/>
                  </a:lnTo>
                  <a:lnTo>
                    <a:pt x="678" y="301"/>
                  </a:lnTo>
                  <a:lnTo>
                    <a:pt x="674" y="296"/>
                  </a:lnTo>
                  <a:lnTo>
                    <a:pt x="670" y="292"/>
                  </a:lnTo>
                  <a:lnTo>
                    <a:pt x="662" y="283"/>
                  </a:lnTo>
                  <a:lnTo>
                    <a:pt x="653" y="275"/>
                  </a:lnTo>
                  <a:lnTo>
                    <a:pt x="649" y="271"/>
                  </a:lnTo>
                  <a:lnTo>
                    <a:pt x="644" y="267"/>
                  </a:lnTo>
                  <a:lnTo>
                    <a:pt x="634" y="260"/>
                  </a:lnTo>
                  <a:lnTo>
                    <a:pt x="624" y="254"/>
                  </a:lnTo>
                  <a:lnTo>
                    <a:pt x="612" y="248"/>
                  </a:lnTo>
                  <a:lnTo>
                    <a:pt x="601" y="243"/>
                  </a:lnTo>
                  <a:lnTo>
                    <a:pt x="599" y="242"/>
                  </a:lnTo>
                  <a:lnTo>
                    <a:pt x="597" y="240"/>
                  </a:lnTo>
                  <a:lnTo>
                    <a:pt x="596" y="239"/>
                  </a:lnTo>
                  <a:lnTo>
                    <a:pt x="595" y="237"/>
                  </a:lnTo>
                  <a:lnTo>
                    <a:pt x="594" y="234"/>
                  </a:lnTo>
                  <a:lnTo>
                    <a:pt x="594" y="232"/>
                  </a:lnTo>
                  <a:lnTo>
                    <a:pt x="595" y="230"/>
                  </a:lnTo>
                  <a:lnTo>
                    <a:pt x="595" y="228"/>
                  </a:lnTo>
                  <a:lnTo>
                    <a:pt x="600" y="221"/>
                  </a:lnTo>
                  <a:lnTo>
                    <a:pt x="604" y="214"/>
                  </a:lnTo>
                  <a:lnTo>
                    <a:pt x="610" y="207"/>
                  </a:lnTo>
                  <a:lnTo>
                    <a:pt x="615" y="201"/>
                  </a:lnTo>
                  <a:lnTo>
                    <a:pt x="621" y="196"/>
                  </a:lnTo>
                  <a:lnTo>
                    <a:pt x="627" y="190"/>
                  </a:lnTo>
                  <a:lnTo>
                    <a:pt x="634" y="186"/>
                  </a:lnTo>
                  <a:lnTo>
                    <a:pt x="641" y="181"/>
                  </a:lnTo>
                  <a:lnTo>
                    <a:pt x="648" y="177"/>
                  </a:lnTo>
                  <a:lnTo>
                    <a:pt x="655" y="174"/>
                  </a:lnTo>
                  <a:lnTo>
                    <a:pt x="663" y="171"/>
                  </a:lnTo>
                  <a:lnTo>
                    <a:pt x="670" y="169"/>
                  </a:lnTo>
                  <a:lnTo>
                    <a:pt x="678" y="167"/>
                  </a:lnTo>
                  <a:lnTo>
                    <a:pt x="686" y="165"/>
                  </a:lnTo>
                  <a:lnTo>
                    <a:pt x="695" y="164"/>
                  </a:lnTo>
                  <a:lnTo>
                    <a:pt x="703" y="164"/>
                  </a:lnTo>
                  <a:lnTo>
                    <a:pt x="713" y="165"/>
                  </a:lnTo>
                  <a:lnTo>
                    <a:pt x="722" y="166"/>
                  </a:lnTo>
                  <a:lnTo>
                    <a:pt x="733" y="168"/>
                  </a:lnTo>
                  <a:lnTo>
                    <a:pt x="742" y="170"/>
                  </a:lnTo>
                  <a:lnTo>
                    <a:pt x="751" y="174"/>
                  </a:lnTo>
                  <a:lnTo>
                    <a:pt x="760" y="178"/>
                  </a:lnTo>
                  <a:lnTo>
                    <a:pt x="768" y="182"/>
                  </a:lnTo>
                  <a:lnTo>
                    <a:pt x="776" y="188"/>
                  </a:lnTo>
                  <a:lnTo>
                    <a:pt x="777" y="173"/>
                  </a:lnTo>
                  <a:lnTo>
                    <a:pt x="778" y="163"/>
                  </a:lnTo>
                  <a:lnTo>
                    <a:pt x="779" y="152"/>
                  </a:lnTo>
                  <a:lnTo>
                    <a:pt x="781" y="140"/>
                  </a:lnTo>
                  <a:lnTo>
                    <a:pt x="783" y="127"/>
                  </a:lnTo>
                  <a:lnTo>
                    <a:pt x="786" y="114"/>
                  </a:lnTo>
                  <a:lnTo>
                    <a:pt x="790" y="100"/>
                  </a:lnTo>
                  <a:lnTo>
                    <a:pt x="795" y="86"/>
                  </a:lnTo>
                  <a:lnTo>
                    <a:pt x="798" y="79"/>
                  </a:lnTo>
                  <a:lnTo>
                    <a:pt x="801" y="72"/>
                  </a:lnTo>
                  <a:lnTo>
                    <a:pt x="805" y="66"/>
                  </a:lnTo>
                  <a:lnTo>
                    <a:pt x="808" y="59"/>
                  </a:lnTo>
                  <a:lnTo>
                    <a:pt x="812" y="52"/>
                  </a:lnTo>
                  <a:lnTo>
                    <a:pt x="815" y="49"/>
                  </a:lnTo>
                  <a:lnTo>
                    <a:pt x="817" y="46"/>
                  </a:lnTo>
                  <a:lnTo>
                    <a:pt x="822" y="39"/>
                  </a:lnTo>
                  <a:lnTo>
                    <a:pt x="827" y="33"/>
                  </a:lnTo>
                  <a:lnTo>
                    <a:pt x="832" y="27"/>
                  </a:lnTo>
                  <a:lnTo>
                    <a:pt x="838" y="21"/>
                  </a:lnTo>
                  <a:lnTo>
                    <a:pt x="844" y="16"/>
                  </a:lnTo>
                  <a:lnTo>
                    <a:pt x="851" y="11"/>
                  </a:lnTo>
                  <a:lnTo>
                    <a:pt x="858" y="6"/>
                  </a:lnTo>
                  <a:lnTo>
                    <a:pt x="865" y="1"/>
                  </a:lnTo>
                  <a:lnTo>
                    <a:pt x="868" y="0"/>
                  </a:lnTo>
                  <a:lnTo>
                    <a:pt x="871" y="0"/>
                  </a:lnTo>
                  <a:lnTo>
                    <a:pt x="873" y="0"/>
                  </a:lnTo>
                  <a:lnTo>
                    <a:pt x="876" y="1"/>
                  </a:lnTo>
                  <a:lnTo>
                    <a:pt x="883" y="6"/>
                  </a:lnTo>
                  <a:lnTo>
                    <a:pt x="891" y="11"/>
                  </a:lnTo>
                  <a:lnTo>
                    <a:pt x="897" y="16"/>
                  </a:lnTo>
                  <a:lnTo>
                    <a:pt x="903" y="21"/>
                  </a:lnTo>
                  <a:lnTo>
                    <a:pt x="909" y="27"/>
                  </a:lnTo>
                  <a:lnTo>
                    <a:pt x="915" y="33"/>
                  </a:lnTo>
                  <a:lnTo>
                    <a:pt x="920" y="39"/>
                  </a:lnTo>
                  <a:lnTo>
                    <a:pt x="924" y="46"/>
                  </a:lnTo>
                  <a:lnTo>
                    <a:pt x="933" y="59"/>
                  </a:lnTo>
                  <a:lnTo>
                    <a:pt x="940" y="72"/>
                  </a:lnTo>
                  <a:lnTo>
                    <a:pt x="946" y="86"/>
                  </a:lnTo>
                  <a:lnTo>
                    <a:pt x="951" y="100"/>
                  </a:lnTo>
                  <a:lnTo>
                    <a:pt x="955" y="114"/>
                  </a:lnTo>
                  <a:lnTo>
                    <a:pt x="958" y="127"/>
                  </a:lnTo>
                  <a:lnTo>
                    <a:pt x="961" y="140"/>
                  </a:lnTo>
                  <a:lnTo>
                    <a:pt x="962" y="152"/>
                  </a:lnTo>
                  <a:lnTo>
                    <a:pt x="964" y="173"/>
                  </a:lnTo>
                  <a:lnTo>
                    <a:pt x="965" y="188"/>
                  </a:lnTo>
                  <a:lnTo>
                    <a:pt x="973" y="182"/>
                  </a:lnTo>
                  <a:lnTo>
                    <a:pt x="981" y="178"/>
                  </a:lnTo>
                  <a:lnTo>
                    <a:pt x="990" y="174"/>
                  </a:lnTo>
                  <a:lnTo>
                    <a:pt x="999" y="170"/>
                  </a:lnTo>
                  <a:lnTo>
                    <a:pt x="1008" y="168"/>
                  </a:lnTo>
                  <a:lnTo>
                    <a:pt x="1018" y="166"/>
                  </a:lnTo>
                  <a:lnTo>
                    <a:pt x="1027" y="165"/>
                  </a:lnTo>
                  <a:lnTo>
                    <a:pt x="1037" y="164"/>
                  </a:lnTo>
                  <a:lnTo>
                    <a:pt x="1046" y="164"/>
                  </a:lnTo>
                  <a:lnTo>
                    <a:pt x="1054" y="165"/>
                  </a:lnTo>
                  <a:lnTo>
                    <a:pt x="1058" y="166"/>
                  </a:lnTo>
                  <a:lnTo>
                    <a:pt x="1062" y="167"/>
                  </a:lnTo>
                  <a:lnTo>
                    <a:pt x="1070" y="169"/>
                  </a:lnTo>
                  <a:lnTo>
                    <a:pt x="1078" y="171"/>
                  </a:lnTo>
                  <a:lnTo>
                    <a:pt x="1085" y="174"/>
                  </a:lnTo>
                  <a:lnTo>
                    <a:pt x="1093" y="177"/>
                  </a:lnTo>
                  <a:lnTo>
                    <a:pt x="1100" y="181"/>
                  </a:lnTo>
                  <a:lnTo>
                    <a:pt x="1107" y="186"/>
                  </a:lnTo>
                  <a:lnTo>
                    <a:pt x="1113" y="190"/>
                  </a:lnTo>
                  <a:lnTo>
                    <a:pt x="1119" y="196"/>
                  </a:lnTo>
                  <a:lnTo>
                    <a:pt x="1125" y="201"/>
                  </a:lnTo>
                  <a:lnTo>
                    <a:pt x="1131" y="207"/>
                  </a:lnTo>
                  <a:lnTo>
                    <a:pt x="1136" y="214"/>
                  </a:lnTo>
                  <a:lnTo>
                    <a:pt x="1141" y="221"/>
                  </a:lnTo>
                  <a:lnTo>
                    <a:pt x="1145" y="228"/>
                  </a:lnTo>
                  <a:lnTo>
                    <a:pt x="1146" y="230"/>
                  </a:lnTo>
                  <a:lnTo>
                    <a:pt x="1146" y="232"/>
                  </a:lnTo>
                  <a:lnTo>
                    <a:pt x="1146" y="234"/>
                  </a:lnTo>
                  <a:lnTo>
                    <a:pt x="1146" y="237"/>
                  </a:lnTo>
                  <a:lnTo>
                    <a:pt x="1145" y="239"/>
                  </a:lnTo>
                  <a:lnTo>
                    <a:pt x="1143" y="240"/>
                  </a:lnTo>
                  <a:lnTo>
                    <a:pt x="1141" y="242"/>
                  </a:lnTo>
                  <a:lnTo>
                    <a:pt x="1139" y="243"/>
                  </a:lnTo>
                  <a:lnTo>
                    <a:pt x="1134" y="245"/>
                  </a:lnTo>
                  <a:lnTo>
                    <a:pt x="1128" y="248"/>
                  </a:lnTo>
                  <a:lnTo>
                    <a:pt x="1117" y="254"/>
                  </a:lnTo>
                  <a:lnTo>
                    <a:pt x="1106" y="260"/>
                  </a:lnTo>
                  <a:lnTo>
                    <a:pt x="1096" y="267"/>
                  </a:lnTo>
                  <a:lnTo>
                    <a:pt x="1087" y="275"/>
                  </a:lnTo>
                  <a:lnTo>
                    <a:pt x="1082" y="279"/>
                  </a:lnTo>
                  <a:lnTo>
                    <a:pt x="1078" y="283"/>
                  </a:lnTo>
                  <a:lnTo>
                    <a:pt x="1070" y="292"/>
                  </a:lnTo>
                  <a:lnTo>
                    <a:pt x="1062" y="301"/>
                  </a:lnTo>
                  <a:lnTo>
                    <a:pt x="1056" y="310"/>
                  </a:lnTo>
                  <a:lnTo>
                    <a:pt x="1053" y="315"/>
                  </a:lnTo>
                  <a:lnTo>
                    <a:pt x="1050" y="320"/>
                  </a:lnTo>
                  <a:lnTo>
                    <a:pt x="1044" y="331"/>
                  </a:lnTo>
                  <a:lnTo>
                    <a:pt x="1042" y="336"/>
                  </a:lnTo>
                  <a:lnTo>
                    <a:pt x="1040" y="341"/>
                  </a:lnTo>
                  <a:lnTo>
                    <a:pt x="1038" y="347"/>
                  </a:lnTo>
                  <a:lnTo>
                    <a:pt x="1036" y="352"/>
                  </a:lnTo>
                  <a:lnTo>
                    <a:pt x="1033" y="364"/>
                  </a:lnTo>
                  <a:lnTo>
                    <a:pt x="1031" y="375"/>
                  </a:lnTo>
                  <a:lnTo>
                    <a:pt x="1030" y="387"/>
                  </a:lnTo>
                  <a:lnTo>
                    <a:pt x="1029" y="396"/>
                  </a:lnTo>
                  <a:lnTo>
                    <a:pt x="1029" y="405"/>
                  </a:lnTo>
                  <a:lnTo>
                    <a:pt x="1030" y="413"/>
                  </a:lnTo>
                  <a:lnTo>
                    <a:pt x="1031" y="422"/>
                  </a:lnTo>
                  <a:lnTo>
                    <a:pt x="1032" y="430"/>
                  </a:lnTo>
                  <a:lnTo>
                    <a:pt x="1034" y="439"/>
                  </a:lnTo>
                  <a:lnTo>
                    <a:pt x="1037" y="447"/>
                  </a:lnTo>
                  <a:lnTo>
                    <a:pt x="1040" y="455"/>
                  </a:lnTo>
                  <a:lnTo>
                    <a:pt x="1043" y="464"/>
                  </a:lnTo>
                  <a:lnTo>
                    <a:pt x="1047" y="471"/>
                  </a:lnTo>
                  <a:lnTo>
                    <a:pt x="1051" y="479"/>
                  </a:lnTo>
                  <a:lnTo>
                    <a:pt x="1055" y="486"/>
                  </a:lnTo>
                  <a:lnTo>
                    <a:pt x="1060" y="493"/>
                  </a:lnTo>
                  <a:lnTo>
                    <a:pt x="1065" y="500"/>
                  </a:lnTo>
                  <a:lnTo>
                    <a:pt x="1070" y="507"/>
                  </a:lnTo>
                  <a:lnTo>
                    <a:pt x="1076" y="513"/>
                  </a:lnTo>
                  <a:lnTo>
                    <a:pt x="1082" y="519"/>
                  </a:lnTo>
                  <a:lnTo>
                    <a:pt x="1089" y="525"/>
                  </a:lnTo>
                  <a:lnTo>
                    <a:pt x="1103" y="536"/>
                  </a:lnTo>
                  <a:lnTo>
                    <a:pt x="1110" y="541"/>
                  </a:lnTo>
                  <a:lnTo>
                    <a:pt x="1118" y="546"/>
                  </a:lnTo>
                  <a:lnTo>
                    <a:pt x="1134" y="554"/>
                  </a:lnTo>
                  <a:lnTo>
                    <a:pt x="1142" y="558"/>
                  </a:lnTo>
                  <a:lnTo>
                    <a:pt x="1151" y="561"/>
                  </a:lnTo>
                  <a:lnTo>
                    <a:pt x="1159" y="564"/>
                  </a:lnTo>
                  <a:lnTo>
                    <a:pt x="1168" y="567"/>
                  </a:lnTo>
                  <a:lnTo>
                    <a:pt x="1178" y="569"/>
                  </a:lnTo>
                  <a:lnTo>
                    <a:pt x="1187" y="571"/>
                  </a:lnTo>
                  <a:lnTo>
                    <a:pt x="1196" y="572"/>
                  </a:lnTo>
                  <a:lnTo>
                    <a:pt x="1206" y="573"/>
                  </a:lnTo>
                  <a:lnTo>
                    <a:pt x="1221" y="573"/>
                  </a:lnTo>
                  <a:lnTo>
                    <a:pt x="1239" y="573"/>
                  </a:lnTo>
                  <a:lnTo>
                    <a:pt x="1248" y="572"/>
                  </a:lnTo>
                  <a:lnTo>
                    <a:pt x="1257" y="570"/>
                  </a:lnTo>
                  <a:lnTo>
                    <a:pt x="1274" y="566"/>
                  </a:lnTo>
                  <a:lnTo>
                    <a:pt x="1290" y="561"/>
                  </a:lnTo>
                  <a:lnTo>
                    <a:pt x="1306" y="555"/>
                  </a:lnTo>
                  <a:lnTo>
                    <a:pt x="1314" y="551"/>
                  </a:lnTo>
                  <a:lnTo>
                    <a:pt x="1321" y="547"/>
                  </a:lnTo>
                  <a:lnTo>
                    <a:pt x="1328" y="542"/>
                  </a:lnTo>
                  <a:lnTo>
                    <a:pt x="1335" y="538"/>
                  </a:lnTo>
                  <a:lnTo>
                    <a:pt x="1342" y="533"/>
                  </a:lnTo>
                  <a:lnTo>
                    <a:pt x="1348" y="527"/>
                  </a:lnTo>
                  <a:lnTo>
                    <a:pt x="1354" y="522"/>
                  </a:lnTo>
                  <a:lnTo>
                    <a:pt x="1360" y="516"/>
                  </a:lnTo>
                  <a:lnTo>
                    <a:pt x="1366" y="510"/>
                  </a:lnTo>
                  <a:lnTo>
                    <a:pt x="1371" y="504"/>
                  </a:lnTo>
                  <a:lnTo>
                    <a:pt x="1376" y="498"/>
                  </a:lnTo>
                  <a:lnTo>
                    <a:pt x="1381" y="491"/>
                  </a:lnTo>
                  <a:lnTo>
                    <a:pt x="1385" y="484"/>
                  </a:lnTo>
                  <a:lnTo>
                    <a:pt x="1389" y="477"/>
                  </a:lnTo>
                  <a:lnTo>
                    <a:pt x="1393" y="470"/>
                  </a:lnTo>
                  <a:lnTo>
                    <a:pt x="1396" y="462"/>
                  </a:lnTo>
                  <a:lnTo>
                    <a:pt x="1401" y="446"/>
                  </a:lnTo>
                  <a:lnTo>
                    <a:pt x="1403" y="438"/>
                  </a:lnTo>
                  <a:lnTo>
                    <a:pt x="1405" y="430"/>
                  </a:lnTo>
                  <a:lnTo>
                    <a:pt x="1406" y="422"/>
                  </a:lnTo>
                  <a:lnTo>
                    <a:pt x="1407" y="414"/>
                  </a:lnTo>
                  <a:lnTo>
                    <a:pt x="1407" y="404"/>
                  </a:lnTo>
                  <a:lnTo>
                    <a:pt x="1407" y="395"/>
                  </a:lnTo>
                  <a:lnTo>
                    <a:pt x="1406" y="386"/>
                  </a:lnTo>
                  <a:lnTo>
                    <a:pt x="1405" y="377"/>
                  </a:lnTo>
                  <a:lnTo>
                    <a:pt x="1404" y="368"/>
                  </a:lnTo>
                  <a:lnTo>
                    <a:pt x="1401" y="360"/>
                  </a:lnTo>
                  <a:lnTo>
                    <a:pt x="1399" y="351"/>
                  </a:lnTo>
                  <a:lnTo>
                    <a:pt x="1395" y="342"/>
                  </a:lnTo>
                  <a:lnTo>
                    <a:pt x="1392" y="334"/>
                  </a:lnTo>
                  <a:lnTo>
                    <a:pt x="1388" y="326"/>
                  </a:lnTo>
                  <a:lnTo>
                    <a:pt x="1383" y="318"/>
                  </a:lnTo>
                  <a:lnTo>
                    <a:pt x="1378" y="310"/>
                  </a:lnTo>
                  <a:lnTo>
                    <a:pt x="1372" y="303"/>
                  </a:lnTo>
                  <a:lnTo>
                    <a:pt x="1366" y="295"/>
                  </a:lnTo>
                  <a:lnTo>
                    <a:pt x="1360" y="288"/>
                  </a:lnTo>
                  <a:lnTo>
                    <a:pt x="1353" y="281"/>
                  </a:lnTo>
                  <a:lnTo>
                    <a:pt x="1352" y="280"/>
                  </a:lnTo>
                  <a:lnTo>
                    <a:pt x="1351" y="278"/>
                  </a:lnTo>
                  <a:lnTo>
                    <a:pt x="1350" y="276"/>
                  </a:lnTo>
                  <a:lnTo>
                    <a:pt x="1350" y="274"/>
                  </a:lnTo>
                  <a:lnTo>
                    <a:pt x="1350" y="270"/>
                  </a:lnTo>
                  <a:lnTo>
                    <a:pt x="1353" y="266"/>
                  </a:lnTo>
                  <a:lnTo>
                    <a:pt x="1357" y="262"/>
                  </a:lnTo>
                  <a:lnTo>
                    <a:pt x="1362" y="257"/>
                  </a:lnTo>
                  <a:lnTo>
                    <a:pt x="1367" y="253"/>
                  </a:lnTo>
                  <a:lnTo>
                    <a:pt x="1372" y="249"/>
                  </a:lnTo>
                  <a:lnTo>
                    <a:pt x="1383" y="242"/>
                  </a:lnTo>
                  <a:lnTo>
                    <a:pt x="1388" y="239"/>
                  </a:lnTo>
                  <a:lnTo>
                    <a:pt x="1394" y="236"/>
                  </a:lnTo>
                  <a:lnTo>
                    <a:pt x="1400" y="234"/>
                  </a:lnTo>
                  <a:lnTo>
                    <a:pt x="1406" y="232"/>
                  </a:lnTo>
                  <a:lnTo>
                    <a:pt x="1412" y="230"/>
                  </a:lnTo>
                  <a:lnTo>
                    <a:pt x="1418" y="228"/>
                  </a:lnTo>
                  <a:lnTo>
                    <a:pt x="1424" y="227"/>
                  </a:lnTo>
                  <a:lnTo>
                    <a:pt x="1431" y="226"/>
                  </a:lnTo>
                  <a:lnTo>
                    <a:pt x="1444" y="226"/>
                  </a:lnTo>
                  <a:lnTo>
                    <a:pt x="1452" y="226"/>
                  </a:lnTo>
                  <a:lnTo>
                    <a:pt x="1460" y="227"/>
                  </a:lnTo>
                  <a:lnTo>
                    <a:pt x="1468" y="228"/>
                  </a:lnTo>
                  <a:lnTo>
                    <a:pt x="1476" y="230"/>
                  </a:lnTo>
                  <a:lnTo>
                    <a:pt x="1483" y="232"/>
                  </a:lnTo>
                  <a:lnTo>
                    <a:pt x="1491" y="235"/>
                  </a:lnTo>
                  <a:lnTo>
                    <a:pt x="1498" y="238"/>
                  </a:lnTo>
                  <a:lnTo>
                    <a:pt x="1505" y="242"/>
                  </a:lnTo>
                  <a:lnTo>
                    <a:pt x="1512" y="246"/>
                  </a:lnTo>
                  <a:lnTo>
                    <a:pt x="1518" y="251"/>
                  </a:lnTo>
                  <a:lnTo>
                    <a:pt x="1525" y="256"/>
                  </a:lnTo>
                  <a:lnTo>
                    <a:pt x="1530" y="261"/>
                  </a:lnTo>
                  <a:lnTo>
                    <a:pt x="1536" y="267"/>
                  </a:lnTo>
                  <a:lnTo>
                    <a:pt x="1541" y="273"/>
                  </a:lnTo>
                  <a:lnTo>
                    <a:pt x="1546" y="280"/>
                  </a:lnTo>
                  <a:lnTo>
                    <a:pt x="1550" y="287"/>
                  </a:lnTo>
                  <a:lnTo>
                    <a:pt x="1560" y="275"/>
                  </a:lnTo>
                  <a:lnTo>
                    <a:pt x="1574" y="259"/>
                  </a:lnTo>
                  <a:lnTo>
                    <a:pt x="1582" y="250"/>
                  </a:lnTo>
                  <a:lnTo>
                    <a:pt x="1591" y="241"/>
                  </a:lnTo>
                  <a:lnTo>
                    <a:pt x="1602" y="232"/>
                  </a:lnTo>
                  <a:lnTo>
                    <a:pt x="1613" y="223"/>
                  </a:lnTo>
                  <a:lnTo>
                    <a:pt x="1625" y="214"/>
                  </a:lnTo>
                  <a:lnTo>
                    <a:pt x="1638" y="205"/>
                  </a:lnTo>
                  <a:lnTo>
                    <a:pt x="1651" y="198"/>
                  </a:lnTo>
                  <a:lnTo>
                    <a:pt x="1666" y="191"/>
                  </a:lnTo>
                  <a:lnTo>
                    <a:pt x="1673" y="188"/>
                  </a:lnTo>
                  <a:lnTo>
                    <a:pt x="1681" y="186"/>
                  </a:lnTo>
                  <a:lnTo>
                    <a:pt x="1688" y="183"/>
                  </a:lnTo>
                  <a:lnTo>
                    <a:pt x="1696" y="181"/>
                  </a:lnTo>
                  <a:lnTo>
                    <a:pt x="1704" y="180"/>
                  </a:lnTo>
                  <a:lnTo>
                    <a:pt x="1712" y="179"/>
                  </a:lnTo>
                  <a:lnTo>
                    <a:pt x="1720" y="178"/>
                  </a:lnTo>
                  <a:lnTo>
                    <a:pt x="1729" y="178"/>
                  </a:lnTo>
                  <a:close/>
                  <a:moveTo>
                    <a:pt x="1450" y="807"/>
                  </a:moveTo>
                  <a:lnTo>
                    <a:pt x="1453" y="807"/>
                  </a:lnTo>
                  <a:lnTo>
                    <a:pt x="1455" y="808"/>
                  </a:lnTo>
                  <a:lnTo>
                    <a:pt x="1457" y="810"/>
                  </a:lnTo>
                  <a:lnTo>
                    <a:pt x="1458" y="812"/>
                  </a:lnTo>
                  <a:lnTo>
                    <a:pt x="1459" y="814"/>
                  </a:lnTo>
                  <a:lnTo>
                    <a:pt x="1460" y="816"/>
                  </a:lnTo>
                  <a:lnTo>
                    <a:pt x="1460" y="819"/>
                  </a:lnTo>
                  <a:lnTo>
                    <a:pt x="1459" y="821"/>
                  </a:lnTo>
                  <a:lnTo>
                    <a:pt x="1439" y="885"/>
                  </a:lnTo>
                  <a:lnTo>
                    <a:pt x="1438" y="886"/>
                  </a:lnTo>
                  <a:lnTo>
                    <a:pt x="1437" y="888"/>
                  </a:lnTo>
                  <a:lnTo>
                    <a:pt x="1435" y="890"/>
                  </a:lnTo>
                  <a:lnTo>
                    <a:pt x="1432" y="892"/>
                  </a:lnTo>
                  <a:lnTo>
                    <a:pt x="1428" y="892"/>
                  </a:lnTo>
                  <a:lnTo>
                    <a:pt x="1374" y="887"/>
                  </a:lnTo>
                  <a:lnTo>
                    <a:pt x="1313" y="881"/>
                  </a:lnTo>
                  <a:lnTo>
                    <a:pt x="1245" y="876"/>
                  </a:lnTo>
                  <a:lnTo>
                    <a:pt x="1174" y="871"/>
                  </a:lnTo>
                  <a:lnTo>
                    <a:pt x="1099" y="867"/>
                  </a:lnTo>
                  <a:lnTo>
                    <a:pt x="1023" y="863"/>
                  </a:lnTo>
                  <a:lnTo>
                    <a:pt x="984" y="862"/>
                  </a:lnTo>
                  <a:lnTo>
                    <a:pt x="946" y="861"/>
                  </a:lnTo>
                  <a:lnTo>
                    <a:pt x="871" y="861"/>
                  </a:lnTo>
                  <a:lnTo>
                    <a:pt x="795" y="861"/>
                  </a:lnTo>
                  <a:lnTo>
                    <a:pt x="718" y="863"/>
                  </a:lnTo>
                  <a:lnTo>
                    <a:pt x="641" y="867"/>
                  </a:lnTo>
                  <a:lnTo>
                    <a:pt x="567" y="871"/>
                  </a:lnTo>
                  <a:lnTo>
                    <a:pt x="495" y="876"/>
                  </a:lnTo>
                  <a:lnTo>
                    <a:pt x="428" y="881"/>
                  </a:lnTo>
                  <a:lnTo>
                    <a:pt x="367" y="887"/>
                  </a:lnTo>
                  <a:lnTo>
                    <a:pt x="313" y="892"/>
                  </a:lnTo>
                  <a:lnTo>
                    <a:pt x="309" y="892"/>
                  </a:lnTo>
                  <a:lnTo>
                    <a:pt x="307" y="891"/>
                  </a:lnTo>
                  <a:lnTo>
                    <a:pt x="306" y="890"/>
                  </a:lnTo>
                  <a:lnTo>
                    <a:pt x="303" y="888"/>
                  </a:lnTo>
                  <a:lnTo>
                    <a:pt x="302" y="885"/>
                  </a:lnTo>
                  <a:lnTo>
                    <a:pt x="292" y="854"/>
                  </a:lnTo>
                  <a:lnTo>
                    <a:pt x="281" y="821"/>
                  </a:lnTo>
                  <a:lnTo>
                    <a:pt x="280" y="819"/>
                  </a:lnTo>
                  <a:lnTo>
                    <a:pt x="280" y="816"/>
                  </a:lnTo>
                  <a:lnTo>
                    <a:pt x="282" y="812"/>
                  </a:lnTo>
                  <a:lnTo>
                    <a:pt x="283" y="810"/>
                  </a:lnTo>
                  <a:lnTo>
                    <a:pt x="285" y="808"/>
                  </a:lnTo>
                  <a:lnTo>
                    <a:pt x="287" y="807"/>
                  </a:lnTo>
                  <a:lnTo>
                    <a:pt x="290" y="807"/>
                  </a:lnTo>
                  <a:lnTo>
                    <a:pt x="292" y="806"/>
                  </a:lnTo>
                  <a:lnTo>
                    <a:pt x="335" y="802"/>
                  </a:lnTo>
                  <a:lnTo>
                    <a:pt x="391" y="796"/>
                  </a:lnTo>
                  <a:lnTo>
                    <a:pt x="457" y="790"/>
                  </a:lnTo>
                  <a:lnTo>
                    <a:pt x="531" y="785"/>
                  </a:lnTo>
                  <a:lnTo>
                    <a:pt x="611" y="780"/>
                  </a:lnTo>
                  <a:lnTo>
                    <a:pt x="653" y="778"/>
                  </a:lnTo>
                  <a:lnTo>
                    <a:pt x="696" y="776"/>
                  </a:lnTo>
                  <a:lnTo>
                    <a:pt x="740" y="774"/>
                  </a:lnTo>
                  <a:lnTo>
                    <a:pt x="783" y="773"/>
                  </a:lnTo>
                  <a:lnTo>
                    <a:pt x="827" y="772"/>
                  </a:lnTo>
                  <a:lnTo>
                    <a:pt x="871" y="772"/>
                  </a:lnTo>
                  <a:lnTo>
                    <a:pt x="914" y="772"/>
                  </a:lnTo>
                  <a:lnTo>
                    <a:pt x="958" y="773"/>
                  </a:lnTo>
                  <a:lnTo>
                    <a:pt x="1001" y="774"/>
                  </a:lnTo>
                  <a:lnTo>
                    <a:pt x="1045" y="776"/>
                  </a:lnTo>
                  <a:lnTo>
                    <a:pt x="1129" y="780"/>
                  </a:lnTo>
                  <a:lnTo>
                    <a:pt x="1209" y="785"/>
                  </a:lnTo>
                  <a:lnTo>
                    <a:pt x="1283" y="790"/>
                  </a:lnTo>
                  <a:lnTo>
                    <a:pt x="1349" y="796"/>
                  </a:lnTo>
                  <a:lnTo>
                    <a:pt x="1405" y="802"/>
                  </a:lnTo>
                  <a:lnTo>
                    <a:pt x="1449" y="806"/>
                  </a:lnTo>
                  <a:lnTo>
                    <a:pt x="1450" y="807"/>
                  </a:lnTo>
                  <a:close/>
                </a:path>
              </a:pathLst>
            </a:custGeom>
            <a:solidFill>
              <a:srgbClr val="FD9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auto">
            <a:xfrm>
              <a:off x="4287838" y="2951163"/>
              <a:ext cx="6440488" cy="1217612"/>
            </a:xfrm>
            <a:custGeom>
              <a:avLst/>
              <a:gdLst>
                <a:gd name="T0" fmla="*/ 3533 w 4057"/>
                <a:gd name="T1" fmla="*/ 11 h 767"/>
                <a:gd name="T2" fmla="*/ 3620 w 4057"/>
                <a:gd name="T3" fmla="*/ 37 h 767"/>
                <a:gd name="T4" fmla="*/ 4033 w 4057"/>
                <a:gd name="T5" fmla="*/ 15 h 767"/>
                <a:gd name="T6" fmla="*/ 4055 w 4057"/>
                <a:gd name="T7" fmla="*/ 724 h 767"/>
                <a:gd name="T8" fmla="*/ 4042 w 4057"/>
                <a:gd name="T9" fmla="*/ 755 h 767"/>
                <a:gd name="T10" fmla="*/ 3620 w 4057"/>
                <a:gd name="T11" fmla="*/ 736 h 767"/>
                <a:gd name="T12" fmla="*/ 3528 w 4057"/>
                <a:gd name="T13" fmla="*/ 756 h 767"/>
                <a:gd name="T14" fmla="*/ 330 w 4057"/>
                <a:gd name="T15" fmla="*/ 10 h 767"/>
                <a:gd name="T16" fmla="*/ 367 w 4057"/>
                <a:gd name="T17" fmla="*/ 4 h 767"/>
                <a:gd name="T18" fmla="*/ 693 w 4057"/>
                <a:gd name="T19" fmla="*/ 754 h 767"/>
                <a:gd name="T20" fmla="*/ 593 w 4057"/>
                <a:gd name="T21" fmla="*/ 744 h 767"/>
                <a:gd name="T22" fmla="*/ 21 w 4057"/>
                <a:gd name="T23" fmla="*/ 757 h 767"/>
                <a:gd name="T24" fmla="*/ 2 w 4057"/>
                <a:gd name="T25" fmla="*/ 729 h 767"/>
                <a:gd name="T26" fmla="*/ 827 w 4057"/>
                <a:gd name="T27" fmla="*/ 13 h 767"/>
                <a:gd name="T28" fmla="*/ 1180 w 4057"/>
                <a:gd name="T29" fmla="*/ 34 h 767"/>
                <a:gd name="T30" fmla="*/ 1281 w 4057"/>
                <a:gd name="T31" fmla="*/ 125 h 767"/>
                <a:gd name="T32" fmla="*/ 1315 w 4057"/>
                <a:gd name="T33" fmla="*/ 258 h 767"/>
                <a:gd name="T34" fmla="*/ 1268 w 4057"/>
                <a:gd name="T35" fmla="*/ 390 h 767"/>
                <a:gd name="T36" fmla="*/ 1159 w 4057"/>
                <a:gd name="T37" fmla="*/ 472 h 767"/>
                <a:gd name="T38" fmla="*/ 920 w 4057"/>
                <a:gd name="T39" fmla="*/ 747 h 767"/>
                <a:gd name="T40" fmla="*/ 816 w 4057"/>
                <a:gd name="T41" fmla="*/ 744 h 767"/>
                <a:gd name="T42" fmla="*/ 1135 w 4057"/>
                <a:gd name="T43" fmla="*/ 366 h 767"/>
                <a:gd name="T44" fmla="*/ 1203 w 4057"/>
                <a:gd name="T45" fmla="*/ 273 h 767"/>
                <a:gd name="T46" fmla="*/ 1189 w 4057"/>
                <a:gd name="T47" fmla="*/ 183 h 767"/>
                <a:gd name="T48" fmla="*/ 1098 w 4057"/>
                <a:gd name="T49" fmla="*/ 120 h 767"/>
                <a:gd name="T50" fmla="*/ 1899 w 4057"/>
                <a:gd name="T51" fmla="*/ 15 h 767"/>
                <a:gd name="T52" fmla="*/ 2058 w 4057"/>
                <a:gd name="T53" fmla="*/ 106 h 767"/>
                <a:gd name="T54" fmla="*/ 2153 w 4057"/>
                <a:gd name="T55" fmla="*/ 252 h 767"/>
                <a:gd name="T56" fmla="*/ 2169 w 4057"/>
                <a:gd name="T57" fmla="*/ 463 h 767"/>
                <a:gd name="T58" fmla="*/ 2089 w 4057"/>
                <a:gd name="T59" fmla="*/ 629 h 767"/>
                <a:gd name="T60" fmla="*/ 1960 w 4057"/>
                <a:gd name="T61" fmla="*/ 730 h 767"/>
                <a:gd name="T62" fmla="*/ 1773 w 4057"/>
                <a:gd name="T63" fmla="*/ 767 h 767"/>
                <a:gd name="T64" fmla="*/ 1578 w 4057"/>
                <a:gd name="T65" fmla="*/ 702 h 767"/>
                <a:gd name="T66" fmla="*/ 1466 w 4057"/>
                <a:gd name="T67" fmla="*/ 584 h 767"/>
                <a:gd name="T68" fmla="*/ 1411 w 4057"/>
                <a:gd name="T69" fmla="*/ 405 h 767"/>
                <a:gd name="T70" fmla="*/ 1448 w 4057"/>
                <a:gd name="T71" fmla="*/ 218 h 767"/>
                <a:gd name="T72" fmla="*/ 1563 w 4057"/>
                <a:gd name="T73" fmla="*/ 76 h 767"/>
                <a:gd name="T74" fmla="*/ 1725 w 4057"/>
                <a:gd name="T75" fmla="*/ 6 h 767"/>
                <a:gd name="T76" fmla="*/ 1888 w 4057"/>
                <a:gd name="T77" fmla="*/ 644 h 767"/>
                <a:gd name="T78" fmla="*/ 2007 w 4057"/>
                <a:gd name="T79" fmla="*/ 561 h 767"/>
                <a:gd name="T80" fmla="*/ 2069 w 4057"/>
                <a:gd name="T81" fmla="*/ 413 h 767"/>
                <a:gd name="T82" fmla="*/ 2037 w 4057"/>
                <a:gd name="T83" fmla="*/ 253 h 767"/>
                <a:gd name="T84" fmla="*/ 1925 w 4057"/>
                <a:gd name="T85" fmla="*/ 141 h 767"/>
                <a:gd name="T86" fmla="*/ 1765 w 4057"/>
                <a:gd name="T87" fmla="*/ 108 h 767"/>
                <a:gd name="T88" fmla="*/ 1618 w 4057"/>
                <a:gd name="T89" fmla="*/ 171 h 767"/>
                <a:gd name="T90" fmla="*/ 1530 w 4057"/>
                <a:gd name="T91" fmla="*/ 304 h 767"/>
                <a:gd name="T92" fmla="*/ 1530 w 4057"/>
                <a:gd name="T93" fmla="*/ 467 h 767"/>
                <a:gd name="T94" fmla="*/ 1618 w 4057"/>
                <a:gd name="T95" fmla="*/ 598 h 767"/>
                <a:gd name="T96" fmla="*/ 1765 w 4057"/>
                <a:gd name="T97" fmla="*/ 659 h 767"/>
                <a:gd name="T98" fmla="*/ 2214 w 4057"/>
                <a:gd name="T99" fmla="*/ 91 h 767"/>
                <a:gd name="T100" fmla="*/ 2736 w 4057"/>
                <a:gd name="T101" fmla="*/ 13 h 767"/>
                <a:gd name="T102" fmla="*/ 2739 w 4057"/>
                <a:gd name="T103" fmla="*/ 107 h 767"/>
                <a:gd name="T104" fmla="*/ 2520 w 4057"/>
                <a:gd name="T105" fmla="*/ 756 h 767"/>
                <a:gd name="T106" fmla="*/ 2885 w 4057"/>
                <a:gd name="T107" fmla="*/ 31 h 767"/>
                <a:gd name="T108" fmla="*/ 3343 w 4057"/>
                <a:gd name="T109" fmla="*/ 15 h 767"/>
                <a:gd name="T110" fmla="*/ 3340 w 4057"/>
                <a:gd name="T111" fmla="*/ 109 h 767"/>
                <a:gd name="T112" fmla="*/ 3298 w 4057"/>
                <a:gd name="T113" fmla="*/ 345 h 767"/>
                <a:gd name="T114" fmla="*/ 2994 w 4057"/>
                <a:gd name="T115" fmla="*/ 658 h 767"/>
                <a:gd name="T116" fmla="*/ 3350 w 4057"/>
                <a:gd name="T117" fmla="*/ 744 h 767"/>
                <a:gd name="T118" fmla="*/ 2888 w 4057"/>
                <a:gd name="T119" fmla="*/ 747 h 7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057" h="767">
                  <a:moveTo>
                    <a:pt x="3508" y="37"/>
                  </a:moveTo>
                  <a:lnTo>
                    <a:pt x="3508" y="31"/>
                  </a:lnTo>
                  <a:lnTo>
                    <a:pt x="3509" y="29"/>
                  </a:lnTo>
                  <a:lnTo>
                    <a:pt x="3509" y="27"/>
                  </a:lnTo>
                  <a:lnTo>
                    <a:pt x="3510" y="25"/>
                  </a:lnTo>
                  <a:lnTo>
                    <a:pt x="3512" y="22"/>
                  </a:lnTo>
                  <a:lnTo>
                    <a:pt x="3515" y="19"/>
                  </a:lnTo>
                  <a:lnTo>
                    <a:pt x="3518" y="15"/>
                  </a:lnTo>
                  <a:lnTo>
                    <a:pt x="3523" y="13"/>
                  </a:lnTo>
                  <a:lnTo>
                    <a:pt x="3525" y="12"/>
                  </a:lnTo>
                  <a:lnTo>
                    <a:pt x="3528" y="12"/>
                  </a:lnTo>
                  <a:lnTo>
                    <a:pt x="3533" y="11"/>
                  </a:lnTo>
                  <a:lnTo>
                    <a:pt x="3595" y="11"/>
                  </a:lnTo>
                  <a:lnTo>
                    <a:pt x="3600" y="12"/>
                  </a:lnTo>
                  <a:lnTo>
                    <a:pt x="3602" y="12"/>
                  </a:lnTo>
                  <a:lnTo>
                    <a:pt x="3605" y="13"/>
                  </a:lnTo>
                  <a:lnTo>
                    <a:pt x="3609" y="15"/>
                  </a:lnTo>
                  <a:lnTo>
                    <a:pt x="3611" y="17"/>
                  </a:lnTo>
                  <a:lnTo>
                    <a:pt x="3613" y="19"/>
                  </a:lnTo>
                  <a:lnTo>
                    <a:pt x="3616" y="22"/>
                  </a:lnTo>
                  <a:lnTo>
                    <a:pt x="3618" y="27"/>
                  </a:lnTo>
                  <a:lnTo>
                    <a:pt x="3619" y="29"/>
                  </a:lnTo>
                  <a:lnTo>
                    <a:pt x="3620" y="31"/>
                  </a:lnTo>
                  <a:lnTo>
                    <a:pt x="3620" y="37"/>
                  </a:lnTo>
                  <a:lnTo>
                    <a:pt x="3620" y="332"/>
                  </a:lnTo>
                  <a:lnTo>
                    <a:pt x="3920" y="22"/>
                  </a:lnTo>
                  <a:lnTo>
                    <a:pt x="3924" y="18"/>
                  </a:lnTo>
                  <a:lnTo>
                    <a:pt x="3929" y="14"/>
                  </a:lnTo>
                  <a:lnTo>
                    <a:pt x="3934" y="12"/>
                  </a:lnTo>
                  <a:lnTo>
                    <a:pt x="3937" y="11"/>
                  </a:lnTo>
                  <a:lnTo>
                    <a:pt x="3940" y="11"/>
                  </a:lnTo>
                  <a:lnTo>
                    <a:pt x="4020" y="11"/>
                  </a:lnTo>
                  <a:lnTo>
                    <a:pt x="4024" y="11"/>
                  </a:lnTo>
                  <a:lnTo>
                    <a:pt x="4027" y="12"/>
                  </a:lnTo>
                  <a:lnTo>
                    <a:pt x="4030" y="13"/>
                  </a:lnTo>
                  <a:lnTo>
                    <a:pt x="4033" y="15"/>
                  </a:lnTo>
                  <a:lnTo>
                    <a:pt x="4035" y="17"/>
                  </a:lnTo>
                  <a:lnTo>
                    <a:pt x="4037" y="19"/>
                  </a:lnTo>
                  <a:lnTo>
                    <a:pt x="4040" y="24"/>
                  </a:lnTo>
                  <a:lnTo>
                    <a:pt x="4042" y="30"/>
                  </a:lnTo>
                  <a:lnTo>
                    <a:pt x="4042" y="33"/>
                  </a:lnTo>
                  <a:lnTo>
                    <a:pt x="4042" y="37"/>
                  </a:lnTo>
                  <a:lnTo>
                    <a:pt x="4039" y="43"/>
                  </a:lnTo>
                  <a:lnTo>
                    <a:pt x="4038" y="46"/>
                  </a:lnTo>
                  <a:lnTo>
                    <a:pt x="4035" y="49"/>
                  </a:lnTo>
                  <a:lnTo>
                    <a:pt x="3728" y="363"/>
                  </a:lnTo>
                  <a:lnTo>
                    <a:pt x="4053" y="721"/>
                  </a:lnTo>
                  <a:lnTo>
                    <a:pt x="4055" y="724"/>
                  </a:lnTo>
                  <a:lnTo>
                    <a:pt x="4056" y="726"/>
                  </a:lnTo>
                  <a:lnTo>
                    <a:pt x="4057" y="731"/>
                  </a:lnTo>
                  <a:lnTo>
                    <a:pt x="4057" y="734"/>
                  </a:lnTo>
                  <a:lnTo>
                    <a:pt x="4057" y="737"/>
                  </a:lnTo>
                  <a:lnTo>
                    <a:pt x="4056" y="740"/>
                  </a:lnTo>
                  <a:lnTo>
                    <a:pt x="4055" y="743"/>
                  </a:lnTo>
                  <a:lnTo>
                    <a:pt x="4054" y="746"/>
                  </a:lnTo>
                  <a:lnTo>
                    <a:pt x="4052" y="748"/>
                  </a:lnTo>
                  <a:lnTo>
                    <a:pt x="4050" y="750"/>
                  </a:lnTo>
                  <a:lnTo>
                    <a:pt x="4048" y="752"/>
                  </a:lnTo>
                  <a:lnTo>
                    <a:pt x="4045" y="754"/>
                  </a:lnTo>
                  <a:lnTo>
                    <a:pt x="4042" y="755"/>
                  </a:lnTo>
                  <a:lnTo>
                    <a:pt x="4038" y="756"/>
                  </a:lnTo>
                  <a:lnTo>
                    <a:pt x="4034" y="756"/>
                  </a:lnTo>
                  <a:lnTo>
                    <a:pt x="3949" y="756"/>
                  </a:lnTo>
                  <a:lnTo>
                    <a:pt x="3945" y="756"/>
                  </a:lnTo>
                  <a:lnTo>
                    <a:pt x="3942" y="756"/>
                  </a:lnTo>
                  <a:lnTo>
                    <a:pt x="3936" y="754"/>
                  </a:lnTo>
                  <a:lnTo>
                    <a:pt x="3934" y="753"/>
                  </a:lnTo>
                  <a:lnTo>
                    <a:pt x="3932" y="752"/>
                  </a:lnTo>
                  <a:lnTo>
                    <a:pt x="3930" y="749"/>
                  </a:lnTo>
                  <a:lnTo>
                    <a:pt x="3620" y="400"/>
                  </a:lnTo>
                  <a:lnTo>
                    <a:pt x="3620" y="731"/>
                  </a:lnTo>
                  <a:lnTo>
                    <a:pt x="3620" y="736"/>
                  </a:lnTo>
                  <a:lnTo>
                    <a:pt x="3619" y="738"/>
                  </a:lnTo>
                  <a:lnTo>
                    <a:pt x="3618" y="741"/>
                  </a:lnTo>
                  <a:lnTo>
                    <a:pt x="3616" y="745"/>
                  </a:lnTo>
                  <a:lnTo>
                    <a:pt x="3614" y="747"/>
                  </a:lnTo>
                  <a:lnTo>
                    <a:pt x="3613" y="749"/>
                  </a:lnTo>
                  <a:lnTo>
                    <a:pt x="3609" y="752"/>
                  </a:lnTo>
                  <a:lnTo>
                    <a:pt x="3605" y="754"/>
                  </a:lnTo>
                  <a:lnTo>
                    <a:pt x="3602" y="755"/>
                  </a:lnTo>
                  <a:lnTo>
                    <a:pt x="3600" y="756"/>
                  </a:lnTo>
                  <a:lnTo>
                    <a:pt x="3595" y="756"/>
                  </a:lnTo>
                  <a:lnTo>
                    <a:pt x="3533" y="756"/>
                  </a:lnTo>
                  <a:lnTo>
                    <a:pt x="3528" y="756"/>
                  </a:lnTo>
                  <a:lnTo>
                    <a:pt x="3523" y="754"/>
                  </a:lnTo>
                  <a:lnTo>
                    <a:pt x="3518" y="752"/>
                  </a:lnTo>
                  <a:lnTo>
                    <a:pt x="3515" y="749"/>
                  </a:lnTo>
                  <a:lnTo>
                    <a:pt x="3512" y="745"/>
                  </a:lnTo>
                  <a:lnTo>
                    <a:pt x="3510" y="743"/>
                  </a:lnTo>
                  <a:lnTo>
                    <a:pt x="3509" y="741"/>
                  </a:lnTo>
                  <a:lnTo>
                    <a:pt x="3508" y="736"/>
                  </a:lnTo>
                  <a:lnTo>
                    <a:pt x="3508" y="731"/>
                  </a:lnTo>
                  <a:lnTo>
                    <a:pt x="3508" y="37"/>
                  </a:lnTo>
                  <a:close/>
                  <a:moveTo>
                    <a:pt x="2" y="729"/>
                  </a:moveTo>
                  <a:lnTo>
                    <a:pt x="329" y="12"/>
                  </a:lnTo>
                  <a:lnTo>
                    <a:pt x="330" y="10"/>
                  </a:lnTo>
                  <a:lnTo>
                    <a:pt x="332" y="8"/>
                  </a:lnTo>
                  <a:lnTo>
                    <a:pt x="335" y="6"/>
                  </a:lnTo>
                  <a:lnTo>
                    <a:pt x="337" y="4"/>
                  </a:lnTo>
                  <a:lnTo>
                    <a:pt x="340" y="2"/>
                  </a:lnTo>
                  <a:lnTo>
                    <a:pt x="342" y="1"/>
                  </a:lnTo>
                  <a:lnTo>
                    <a:pt x="345" y="1"/>
                  </a:lnTo>
                  <a:lnTo>
                    <a:pt x="347" y="0"/>
                  </a:lnTo>
                  <a:lnTo>
                    <a:pt x="358" y="0"/>
                  </a:lnTo>
                  <a:lnTo>
                    <a:pt x="360" y="1"/>
                  </a:lnTo>
                  <a:lnTo>
                    <a:pt x="362" y="1"/>
                  </a:lnTo>
                  <a:lnTo>
                    <a:pt x="365" y="2"/>
                  </a:lnTo>
                  <a:lnTo>
                    <a:pt x="367" y="4"/>
                  </a:lnTo>
                  <a:lnTo>
                    <a:pt x="370" y="6"/>
                  </a:lnTo>
                  <a:lnTo>
                    <a:pt x="372" y="8"/>
                  </a:lnTo>
                  <a:lnTo>
                    <a:pt x="376" y="12"/>
                  </a:lnTo>
                  <a:lnTo>
                    <a:pt x="701" y="729"/>
                  </a:lnTo>
                  <a:lnTo>
                    <a:pt x="703" y="734"/>
                  </a:lnTo>
                  <a:lnTo>
                    <a:pt x="703" y="739"/>
                  </a:lnTo>
                  <a:lnTo>
                    <a:pt x="702" y="744"/>
                  </a:lnTo>
                  <a:lnTo>
                    <a:pt x="702" y="746"/>
                  </a:lnTo>
                  <a:lnTo>
                    <a:pt x="700" y="748"/>
                  </a:lnTo>
                  <a:lnTo>
                    <a:pt x="699" y="750"/>
                  </a:lnTo>
                  <a:lnTo>
                    <a:pt x="697" y="751"/>
                  </a:lnTo>
                  <a:lnTo>
                    <a:pt x="693" y="754"/>
                  </a:lnTo>
                  <a:lnTo>
                    <a:pt x="689" y="756"/>
                  </a:lnTo>
                  <a:lnTo>
                    <a:pt x="686" y="756"/>
                  </a:lnTo>
                  <a:lnTo>
                    <a:pt x="683" y="757"/>
                  </a:lnTo>
                  <a:lnTo>
                    <a:pt x="616" y="757"/>
                  </a:lnTo>
                  <a:lnTo>
                    <a:pt x="611" y="756"/>
                  </a:lnTo>
                  <a:lnTo>
                    <a:pt x="607" y="755"/>
                  </a:lnTo>
                  <a:lnTo>
                    <a:pt x="606" y="755"/>
                  </a:lnTo>
                  <a:lnTo>
                    <a:pt x="604" y="754"/>
                  </a:lnTo>
                  <a:lnTo>
                    <a:pt x="601" y="752"/>
                  </a:lnTo>
                  <a:lnTo>
                    <a:pt x="598" y="750"/>
                  </a:lnTo>
                  <a:lnTo>
                    <a:pt x="595" y="747"/>
                  </a:lnTo>
                  <a:lnTo>
                    <a:pt x="593" y="744"/>
                  </a:lnTo>
                  <a:lnTo>
                    <a:pt x="592" y="741"/>
                  </a:lnTo>
                  <a:lnTo>
                    <a:pt x="526" y="595"/>
                  </a:lnTo>
                  <a:lnTo>
                    <a:pt x="177" y="595"/>
                  </a:lnTo>
                  <a:lnTo>
                    <a:pt x="144" y="668"/>
                  </a:lnTo>
                  <a:lnTo>
                    <a:pt x="112" y="741"/>
                  </a:lnTo>
                  <a:lnTo>
                    <a:pt x="109" y="746"/>
                  </a:lnTo>
                  <a:lnTo>
                    <a:pt x="103" y="751"/>
                  </a:lnTo>
                  <a:lnTo>
                    <a:pt x="100" y="753"/>
                  </a:lnTo>
                  <a:lnTo>
                    <a:pt x="96" y="755"/>
                  </a:lnTo>
                  <a:lnTo>
                    <a:pt x="92" y="756"/>
                  </a:lnTo>
                  <a:lnTo>
                    <a:pt x="88" y="757"/>
                  </a:lnTo>
                  <a:lnTo>
                    <a:pt x="21" y="757"/>
                  </a:lnTo>
                  <a:lnTo>
                    <a:pt x="15" y="756"/>
                  </a:lnTo>
                  <a:lnTo>
                    <a:pt x="10" y="754"/>
                  </a:lnTo>
                  <a:lnTo>
                    <a:pt x="6" y="751"/>
                  </a:lnTo>
                  <a:lnTo>
                    <a:pt x="4" y="750"/>
                  </a:lnTo>
                  <a:lnTo>
                    <a:pt x="3" y="748"/>
                  </a:lnTo>
                  <a:lnTo>
                    <a:pt x="1" y="744"/>
                  </a:lnTo>
                  <a:lnTo>
                    <a:pt x="1" y="741"/>
                  </a:lnTo>
                  <a:lnTo>
                    <a:pt x="0" y="739"/>
                  </a:lnTo>
                  <a:lnTo>
                    <a:pt x="0" y="737"/>
                  </a:lnTo>
                  <a:lnTo>
                    <a:pt x="1" y="734"/>
                  </a:lnTo>
                  <a:lnTo>
                    <a:pt x="1" y="731"/>
                  </a:lnTo>
                  <a:lnTo>
                    <a:pt x="2" y="729"/>
                  </a:lnTo>
                  <a:close/>
                  <a:moveTo>
                    <a:pt x="485" y="503"/>
                  </a:moveTo>
                  <a:lnTo>
                    <a:pt x="353" y="211"/>
                  </a:lnTo>
                  <a:lnTo>
                    <a:pt x="348" y="211"/>
                  </a:lnTo>
                  <a:lnTo>
                    <a:pt x="218" y="503"/>
                  </a:lnTo>
                  <a:lnTo>
                    <a:pt x="485" y="503"/>
                  </a:lnTo>
                  <a:close/>
                  <a:moveTo>
                    <a:pt x="814" y="31"/>
                  </a:moveTo>
                  <a:lnTo>
                    <a:pt x="815" y="27"/>
                  </a:lnTo>
                  <a:lnTo>
                    <a:pt x="816" y="24"/>
                  </a:lnTo>
                  <a:lnTo>
                    <a:pt x="818" y="20"/>
                  </a:lnTo>
                  <a:lnTo>
                    <a:pt x="820" y="17"/>
                  </a:lnTo>
                  <a:lnTo>
                    <a:pt x="823" y="15"/>
                  </a:lnTo>
                  <a:lnTo>
                    <a:pt x="827" y="13"/>
                  </a:lnTo>
                  <a:lnTo>
                    <a:pt x="830" y="11"/>
                  </a:lnTo>
                  <a:lnTo>
                    <a:pt x="835" y="11"/>
                  </a:lnTo>
                  <a:lnTo>
                    <a:pt x="1077" y="11"/>
                  </a:lnTo>
                  <a:lnTo>
                    <a:pt x="1089" y="11"/>
                  </a:lnTo>
                  <a:lnTo>
                    <a:pt x="1101" y="12"/>
                  </a:lnTo>
                  <a:lnTo>
                    <a:pt x="1113" y="14"/>
                  </a:lnTo>
                  <a:lnTo>
                    <a:pt x="1125" y="16"/>
                  </a:lnTo>
                  <a:lnTo>
                    <a:pt x="1136" y="19"/>
                  </a:lnTo>
                  <a:lnTo>
                    <a:pt x="1148" y="22"/>
                  </a:lnTo>
                  <a:lnTo>
                    <a:pt x="1159" y="25"/>
                  </a:lnTo>
                  <a:lnTo>
                    <a:pt x="1170" y="30"/>
                  </a:lnTo>
                  <a:lnTo>
                    <a:pt x="1180" y="34"/>
                  </a:lnTo>
                  <a:lnTo>
                    <a:pt x="1190" y="40"/>
                  </a:lnTo>
                  <a:lnTo>
                    <a:pt x="1200" y="45"/>
                  </a:lnTo>
                  <a:lnTo>
                    <a:pt x="1210" y="51"/>
                  </a:lnTo>
                  <a:lnTo>
                    <a:pt x="1219" y="58"/>
                  </a:lnTo>
                  <a:lnTo>
                    <a:pt x="1228" y="65"/>
                  </a:lnTo>
                  <a:lnTo>
                    <a:pt x="1237" y="72"/>
                  </a:lnTo>
                  <a:lnTo>
                    <a:pt x="1245" y="80"/>
                  </a:lnTo>
                  <a:lnTo>
                    <a:pt x="1253" y="88"/>
                  </a:lnTo>
                  <a:lnTo>
                    <a:pt x="1261" y="97"/>
                  </a:lnTo>
                  <a:lnTo>
                    <a:pt x="1268" y="106"/>
                  </a:lnTo>
                  <a:lnTo>
                    <a:pt x="1275" y="115"/>
                  </a:lnTo>
                  <a:lnTo>
                    <a:pt x="1281" y="125"/>
                  </a:lnTo>
                  <a:lnTo>
                    <a:pt x="1286" y="135"/>
                  </a:lnTo>
                  <a:lnTo>
                    <a:pt x="1292" y="145"/>
                  </a:lnTo>
                  <a:lnTo>
                    <a:pt x="1297" y="155"/>
                  </a:lnTo>
                  <a:lnTo>
                    <a:pt x="1301" y="166"/>
                  </a:lnTo>
                  <a:lnTo>
                    <a:pt x="1305" y="177"/>
                  </a:lnTo>
                  <a:lnTo>
                    <a:pt x="1308" y="188"/>
                  </a:lnTo>
                  <a:lnTo>
                    <a:pt x="1311" y="199"/>
                  </a:lnTo>
                  <a:lnTo>
                    <a:pt x="1313" y="211"/>
                  </a:lnTo>
                  <a:lnTo>
                    <a:pt x="1314" y="222"/>
                  </a:lnTo>
                  <a:lnTo>
                    <a:pt x="1315" y="234"/>
                  </a:lnTo>
                  <a:lnTo>
                    <a:pt x="1315" y="246"/>
                  </a:lnTo>
                  <a:lnTo>
                    <a:pt x="1315" y="258"/>
                  </a:lnTo>
                  <a:lnTo>
                    <a:pt x="1314" y="270"/>
                  </a:lnTo>
                  <a:lnTo>
                    <a:pt x="1313" y="282"/>
                  </a:lnTo>
                  <a:lnTo>
                    <a:pt x="1311" y="294"/>
                  </a:lnTo>
                  <a:lnTo>
                    <a:pt x="1308" y="307"/>
                  </a:lnTo>
                  <a:lnTo>
                    <a:pt x="1305" y="318"/>
                  </a:lnTo>
                  <a:lnTo>
                    <a:pt x="1301" y="329"/>
                  </a:lnTo>
                  <a:lnTo>
                    <a:pt x="1297" y="340"/>
                  </a:lnTo>
                  <a:lnTo>
                    <a:pt x="1292" y="351"/>
                  </a:lnTo>
                  <a:lnTo>
                    <a:pt x="1287" y="361"/>
                  </a:lnTo>
                  <a:lnTo>
                    <a:pt x="1281" y="371"/>
                  </a:lnTo>
                  <a:lnTo>
                    <a:pt x="1275" y="381"/>
                  </a:lnTo>
                  <a:lnTo>
                    <a:pt x="1268" y="390"/>
                  </a:lnTo>
                  <a:lnTo>
                    <a:pt x="1261" y="399"/>
                  </a:lnTo>
                  <a:lnTo>
                    <a:pt x="1253" y="408"/>
                  </a:lnTo>
                  <a:lnTo>
                    <a:pt x="1245" y="416"/>
                  </a:lnTo>
                  <a:lnTo>
                    <a:pt x="1237" y="424"/>
                  </a:lnTo>
                  <a:lnTo>
                    <a:pt x="1229" y="432"/>
                  </a:lnTo>
                  <a:lnTo>
                    <a:pt x="1220" y="439"/>
                  </a:lnTo>
                  <a:lnTo>
                    <a:pt x="1210" y="445"/>
                  </a:lnTo>
                  <a:lnTo>
                    <a:pt x="1201" y="452"/>
                  </a:lnTo>
                  <a:lnTo>
                    <a:pt x="1191" y="457"/>
                  </a:lnTo>
                  <a:lnTo>
                    <a:pt x="1180" y="463"/>
                  </a:lnTo>
                  <a:lnTo>
                    <a:pt x="1170" y="468"/>
                  </a:lnTo>
                  <a:lnTo>
                    <a:pt x="1159" y="472"/>
                  </a:lnTo>
                  <a:lnTo>
                    <a:pt x="1148" y="476"/>
                  </a:lnTo>
                  <a:lnTo>
                    <a:pt x="1137" y="479"/>
                  </a:lnTo>
                  <a:lnTo>
                    <a:pt x="1126" y="481"/>
                  </a:lnTo>
                  <a:lnTo>
                    <a:pt x="1114" y="484"/>
                  </a:lnTo>
                  <a:lnTo>
                    <a:pt x="1102" y="485"/>
                  </a:lnTo>
                  <a:lnTo>
                    <a:pt x="1090" y="486"/>
                  </a:lnTo>
                  <a:lnTo>
                    <a:pt x="1078" y="486"/>
                  </a:lnTo>
                  <a:lnTo>
                    <a:pt x="924" y="486"/>
                  </a:lnTo>
                  <a:lnTo>
                    <a:pt x="924" y="736"/>
                  </a:lnTo>
                  <a:lnTo>
                    <a:pt x="924" y="740"/>
                  </a:lnTo>
                  <a:lnTo>
                    <a:pt x="922" y="744"/>
                  </a:lnTo>
                  <a:lnTo>
                    <a:pt x="920" y="747"/>
                  </a:lnTo>
                  <a:lnTo>
                    <a:pt x="918" y="750"/>
                  </a:lnTo>
                  <a:lnTo>
                    <a:pt x="915" y="753"/>
                  </a:lnTo>
                  <a:lnTo>
                    <a:pt x="911" y="755"/>
                  </a:lnTo>
                  <a:lnTo>
                    <a:pt x="908" y="756"/>
                  </a:lnTo>
                  <a:lnTo>
                    <a:pt x="904" y="756"/>
                  </a:lnTo>
                  <a:lnTo>
                    <a:pt x="835" y="756"/>
                  </a:lnTo>
                  <a:lnTo>
                    <a:pt x="830" y="756"/>
                  </a:lnTo>
                  <a:lnTo>
                    <a:pt x="827" y="755"/>
                  </a:lnTo>
                  <a:lnTo>
                    <a:pt x="823" y="753"/>
                  </a:lnTo>
                  <a:lnTo>
                    <a:pt x="820" y="750"/>
                  </a:lnTo>
                  <a:lnTo>
                    <a:pt x="818" y="747"/>
                  </a:lnTo>
                  <a:lnTo>
                    <a:pt x="816" y="744"/>
                  </a:lnTo>
                  <a:lnTo>
                    <a:pt x="815" y="740"/>
                  </a:lnTo>
                  <a:lnTo>
                    <a:pt x="814" y="736"/>
                  </a:lnTo>
                  <a:lnTo>
                    <a:pt x="814" y="31"/>
                  </a:lnTo>
                  <a:close/>
                  <a:moveTo>
                    <a:pt x="1071" y="382"/>
                  </a:moveTo>
                  <a:lnTo>
                    <a:pt x="1078" y="382"/>
                  </a:lnTo>
                  <a:lnTo>
                    <a:pt x="1084" y="381"/>
                  </a:lnTo>
                  <a:lnTo>
                    <a:pt x="1098" y="379"/>
                  </a:lnTo>
                  <a:lnTo>
                    <a:pt x="1110" y="376"/>
                  </a:lnTo>
                  <a:lnTo>
                    <a:pt x="1117" y="374"/>
                  </a:lnTo>
                  <a:lnTo>
                    <a:pt x="1123" y="372"/>
                  </a:lnTo>
                  <a:lnTo>
                    <a:pt x="1129" y="369"/>
                  </a:lnTo>
                  <a:lnTo>
                    <a:pt x="1135" y="366"/>
                  </a:lnTo>
                  <a:lnTo>
                    <a:pt x="1146" y="359"/>
                  </a:lnTo>
                  <a:lnTo>
                    <a:pt x="1156" y="351"/>
                  </a:lnTo>
                  <a:lnTo>
                    <a:pt x="1166" y="343"/>
                  </a:lnTo>
                  <a:lnTo>
                    <a:pt x="1175" y="333"/>
                  </a:lnTo>
                  <a:lnTo>
                    <a:pt x="1179" y="328"/>
                  </a:lnTo>
                  <a:lnTo>
                    <a:pt x="1182" y="323"/>
                  </a:lnTo>
                  <a:lnTo>
                    <a:pt x="1186" y="317"/>
                  </a:lnTo>
                  <a:lnTo>
                    <a:pt x="1189" y="312"/>
                  </a:lnTo>
                  <a:lnTo>
                    <a:pt x="1195" y="299"/>
                  </a:lnTo>
                  <a:lnTo>
                    <a:pt x="1198" y="292"/>
                  </a:lnTo>
                  <a:lnTo>
                    <a:pt x="1200" y="286"/>
                  </a:lnTo>
                  <a:lnTo>
                    <a:pt x="1203" y="273"/>
                  </a:lnTo>
                  <a:lnTo>
                    <a:pt x="1204" y="266"/>
                  </a:lnTo>
                  <a:lnTo>
                    <a:pt x="1205" y="263"/>
                  </a:lnTo>
                  <a:lnTo>
                    <a:pt x="1205" y="259"/>
                  </a:lnTo>
                  <a:lnTo>
                    <a:pt x="1206" y="252"/>
                  </a:lnTo>
                  <a:lnTo>
                    <a:pt x="1206" y="245"/>
                  </a:lnTo>
                  <a:lnTo>
                    <a:pt x="1206" y="238"/>
                  </a:lnTo>
                  <a:lnTo>
                    <a:pt x="1205" y="232"/>
                  </a:lnTo>
                  <a:lnTo>
                    <a:pt x="1203" y="219"/>
                  </a:lnTo>
                  <a:lnTo>
                    <a:pt x="1202" y="213"/>
                  </a:lnTo>
                  <a:lnTo>
                    <a:pt x="1200" y="206"/>
                  </a:lnTo>
                  <a:lnTo>
                    <a:pt x="1195" y="195"/>
                  </a:lnTo>
                  <a:lnTo>
                    <a:pt x="1189" y="183"/>
                  </a:lnTo>
                  <a:lnTo>
                    <a:pt x="1182" y="173"/>
                  </a:lnTo>
                  <a:lnTo>
                    <a:pt x="1179" y="168"/>
                  </a:lnTo>
                  <a:lnTo>
                    <a:pt x="1175" y="163"/>
                  </a:lnTo>
                  <a:lnTo>
                    <a:pt x="1170" y="158"/>
                  </a:lnTo>
                  <a:lnTo>
                    <a:pt x="1166" y="154"/>
                  </a:lnTo>
                  <a:lnTo>
                    <a:pt x="1156" y="146"/>
                  </a:lnTo>
                  <a:lnTo>
                    <a:pt x="1146" y="139"/>
                  </a:lnTo>
                  <a:lnTo>
                    <a:pt x="1135" y="132"/>
                  </a:lnTo>
                  <a:lnTo>
                    <a:pt x="1129" y="130"/>
                  </a:lnTo>
                  <a:lnTo>
                    <a:pt x="1123" y="127"/>
                  </a:lnTo>
                  <a:lnTo>
                    <a:pt x="1110" y="123"/>
                  </a:lnTo>
                  <a:lnTo>
                    <a:pt x="1098" y="120"/>
                  </a:lnTo>
                  <a:lnTo>
                    <a:pt x="1084" y="118"/>
                  </a:lnTo>
                  <a:lnTo>
                    <a:pt x="1071" y="117"/>
                  </a:lnTo>
                  <a:lnTo>
                    <a:pt x="924" y="117"/>
                  </a:lnTo>
                  <a:lnTo>
                    <a:pt x="924" y="382"/>
                  </a:lnTo>
                  <a:lnTo>
                    <a:pt x="1071" y="382"/>
                  </a:lnTo>
                  <a:close/>
                  <a:moveTo>
                    <a:pt x="1793" y="0"/>
                  </a:moveTo>
                  <a:lnTo>
                    <a:pt x="1812" y="1"/>
                  </a:lnTo>
                  <a:lnTo>
                    <a:pt x="1832" y="2"/>
                  </a:lnTo>
                  <a:lnTo>
                    <a:pt x="1851" y="5"/>
                  </a:lnTo>
                  <a:lnTo>
                    <a:pt x="1871" y="8"/>
                  </a:lnTo>
                  <a:lnTo>
                    <a:pt x="1890" y="12"/>
                  </a:lnTo>
                  <a:lnTo>
                    <a:pt x="1899" y="15"/>
                  </a:lnTo>
                  <a:lnTo>
                    <a:pt x="1908" y="18"/>
                  </a:lnTo>
                  <a:lnTo>
                    <a:pt x="1917" y="20"/>
                  </a:lnTo>
                  <a:lnTo>
                    <a:pt x="1926" y="24"/>
                  </a:lnTo>
                  <a:lnTo>
                    <a:pt x="1943" y="30"/>
                  </a:lnTo>
                  <a:lnTo>
                    <a:pt x="1960" y="38"/>
                  </a:lnTo>
                  <a:lnTo>
                    <a:pt x="1977" y="47"/>
                  </a:lnTo>
                  <a:lnTo>
                    <a:pt x="1993" y="56"/>
                  </a:lnTo>
                  <a:lnTo>
                    <a:pt x="2008" y="66"/>
                  </a:lnTo>
                  <a:lnTo>
                    <a:pt x="2023" y="76"/>
                  </a:lnTo>
                  <a:lnTo>
                    <a:pt x="2038" y="88"/>
                  </a:lnTo>
                  <a:lnTo>
                    <a:pt x="2052" y="100"/>
                  </a:lnTo>
                  <a:lnTo>
                    <a:pt x="2058" y="106"/>
                  </a:lnTo>
                  <a:lnTo>
                    <a:pt x="2065" y="113"/>
                  </a:lnTo>
                  <a:lnTo>
                    <a:pt x="2077" y="126"/>
                  </a:lnTo>
                  <a:lnTo>
                    <a:pt x="2089" y="140"/>
                  </a:lnTo>
                  <a:lnTo>
                    <a:pt x="2095" y="147"/>
                  </a:lnTo>
                  <a:lnTo>
                    <a:pt x="2101" y="154"/>
                  </a:lnTo>
                  <a:lnTo>
                    <a:pt x="2111" y="169"/>
                  </a:lnTo>
                  <a:lnTo>
                    <a:pt x="2121" y="185"/>
                  </a:lnTo>
                  <a:lnTo>
                    <a:pt x="2131" y="201"/>
                  </a:lnTo>
                  <a:lnTo>
                    <a:pt x="2139" y="218"/>
                  </a:lnTo>
                  <a:lnTo>
                    <a:pt x="2147" y="235"/>
                  </a:lnTo>
                  <a:lnTo>
                    <a:pt x="2150" y="243"/>
                  </a:lnTo>
                  <a:lnTo>
                    <a:pt x="2153" y="252"/>
                  </a:lnTo>
                  <a:lnTo>
                    <a:pt x="2159" y="270"/>
                  </a:lnTo>
                  <a:lnTo>
                    <a:pt x="2165" y="288"/>
                  </a:lnTo>
                  <a:lnTo>
                    <a:pt x="2169" y="308"/>
                  </a:lnTo>
                  <a:lnTo>
                    <a:pt x="2171" y="317"/>
                  </a:lnTo>
                  <a:lnTo>
                    <a:pt x="2172" y="327"/>
                  </a:lnTo>
                  <a:lnTo>
                    <a:pt x="2175" y="346"/>
                  </a:lnTo>
                  <a:lnTo>
                    <a:pt x="2176" y="366"/>
                  </a:lnTo>
                  <a:lnTo>
                    <a:pt x="2177" y="385"/>
                  </a:lnTo>
                  <a:lnTo>
                    <a:pt x="2176" y="405"/>
                  </a:lnTo>
                  <a:lnTo>
                    <a:pt x="2175" y="425"/>
                  </a:lnTo>
                  <a:lnTo>
                    <a:pt x="2172" y="444"/>
                  </a:lnTo>
                  <a:lnTo>
                    <a:pt x="2169" y="463"/>
                  </a:lnTo>
                  <a:lnTo>
                    <a:pt x="2165" y="481"/>
                  </a:lnTo>
                  <a:lnTo>
                    <a:pt x="2162" y="491"/>
                  </a:lnTo>
                  <a:lnTo>
                    <a:pt x="2159" y="500"/>
                  </a:lnTo>
                  <a:lnTo>
                    <a:pt x="2157" y="509"/>
                  </a:lnTo>
                  <a:lnTo>
                    <a:pt x="2153" y="517"/>
                  </a:lnTo>
                  <a:lnTo>
                    <a:pt x="2147" y="535"/>
                  </a:lnTo>
                  <a:lnTo>
                    <a:pt x="2139" y="552"/>
                  </a:lnTo>
                  <a:lnTo>
                    <a:pt x="2131" y="568"/>
                  </a:lnTo>
                  <a:lnTo>
                    <a:pt x="2121" y="584"/>
                  </a:lnTo>
                  <a:lnTo>
                    <a:pt x="2111" y="600"/>
                  </a:lnTo>
                  <a:lnTo>
                    <a:pt x="2101" y="615"/>
                  </a:lnTo>
                  <a:lnTo>
                    <a:pt x="2089" y="629"/>
                  </a:lnTo>
                  <a:lnTo>
                    <a:pt x="2077" y="643"/>
                  </a:lnTo>
                  <a:lnTo>
                    <a:pt x="2071" y="649"/>
                  </a:lnTo>
                  <a:lnTo>
                    <a:pt x="2065" y="656"/>
                  </a:lnTo>
                  <a:lnTo>
                    <a:pt x="2052" y="669"/>
                  </a:lnTo>
                  <a:lnTo>
                    <a:pt x="2038" y="681"/>
                  </a:lnTo>
                  <a:lnTo>
                    <a:pt x="2031" y="686"/>
                  </a:lnTo>
                  <a:lnTo>
                    <a:pt x="2023" y="692"/>
                  </a:lnTo>
                  <a:lnTo>
                    <a:pt x="2008" y="702"/>
                  </a:lnTo>
                  <a:lnTo>
                    <a:pt x="2001" y="707"/>
                  </a:lnTo>
                  <a:lnTo>
                    <a:pt x="1993" y="712"/>
                  </a:lnTo>
                  <a:lnTo>
                    <a:pt x="1977" y="721"/>
                  </a:lnTo>
                  <a:lnTo>
                    <a:pt x="1960" y="730"/>
                  </a:lnTo>
                  <a:lnTo>
                    <a:pt x="1952" y="734"/>
                  </a:lnTo>
                  <a:lnTo>
                    <a:pt x="1943" y="737"/>
                  </a:lnTo>
                  <a:lnTo>
                    <a:pt x="1935" y="741"/>
                  </a:lnTo>
                  <a:lnTo>
                    <a:pt x="1926" y="744"/>
                  </a:lnTo>
                  <a:lnTo>
                    <a:pt x="1908" y="750"/>
                  </a:lnTo>
                  <a:lnTo>
                    <a:pt x="1890" y="755"/>
                  </a:lnTo>
                  <a:lnTo>
                    <a:pt x="1871" y="759"/>
                  </a:lnTo>
                  <a:lnTo>
                    <a:pt x="1851" y="763"/>
                  </a:lnTo>
                  <a:lnTo>
                    <a:pt x="1832" y="765"/>
                  </a:lnTo>
                  <a:lnTo>
                    <a:pt x="1812" y="767"/>
                  </a:lnTo>
                  <a:lnTo>
                    <a:pt x="1793" y="767"/>
                  </a:lnTo>
                  <a:lnTo>
                    <a:pt x="1773" y="767"/>
                  </a:lnTo>
                  <a:lnTo>
                    <a:pt x="1753" y="765"/>
                  </a:lnTo>
                  <a:lnTo>
                    <a:pt x="1734" y="763"/>
                  </a:lnTo>
                  <a:lnTo>
                    <a:pt x="1715" y="759"/>
                  </a:lnTo>
                  <a:lnTo>
                    <a:pt x="1697" y="755"/>
                  </a:lnTo>
                  <a:lnTo>
                    <a:pt x="1678" y="750"/>
                  </a:lnTo>
                  <a:lnTo>
                    <a:pt x="1669" y="747"/>
                  </a:lnTo>
                  <a:lnTo>
                    <a:pt x="1661" y="744"/>
                  </a:lnTo>
                  <a:lnTo>
                    <a:pt x="1643" y="737"/>
                  </a:lnTo>
                  <a:lnTo>
                    <a:pt x="1626" y="730"/>
                  </a:lnTo>
                  <a:lnTo>
                    <a:pt x="1610" y="721"/>
                  </a:lnTo>
                  <a:lnTo>
                    <a:pt x="1594" y="712"/>
                  </a:lnTo>
                  <a:lnTo>
                    <a:pt x="1578" y="702"/>
                  </a:lnTo>
                  <a:lnTo>
                    <a:pt x="1563" y="692"/>
                  </a:lnTo>
                  <a:lnTo>
                    <a:pt x="1549" y="681"/>
                  </a:lnTo>
                  <a:lnTo>
                    <a:pt x="1542" y="675"/>
                  </a:lnTo>
                  <a:lnTo>
                    <a:pt x="1535" y="669"/>
                  </a:lnTo>
                  <a:lnTo>
                    <a:pt x="1522" y="656"/>
                  </a:lnTo>
                  <a:lnTo>
                    <a:pt x="1509" y="643"/>
                  </a:lnTo>
                  <a:lnTo>
                    <a:pt x="1497" y="629"/>
                  </a:lnTo>
                  <a:lnTo>
                    <a:pt x="1492" y="622"/>
                  </a:lnTo>
                  <a:lnTo>
                    <a:pt x="1486" y="615"/>
                  </a:lnTo>
                  <a:lnTo>
                    <a:pt x="1476" y="600"/>
                  </a:lnTo>
                  <a:lnTo>
                    <a:pt x="1471" y="592"/>
                  </a:lnTo>
                  <a:lnTo>
                    <a:pt x="1466" y="584"/>
                  </a:lnTo>
                  <a:lnTo>
                    <a:pt x="1457" y="568"/>
                  </a:lnTo>
                  <a:lnTo>
                    <a:pt x="1448" y="552"/>
                  </a:lnTo>
                  <a:lnTo>
                    <a:pt x="1444" y="543"/>
                  </a:lnTo>
                  <a:lnTo>
                    <a:pt x="1441" y="535"/>
                  </a:lnTo>
                  <a:lnTo>
                    <a:pt x="1437" y="526"/>
                  </a:lnTo>
                  <a:lnTo>
                    <a:pt x="1434" y="517"/>
                  </a:lnTo>
                  <a:lnTo>
                    <a:pt x="1428" y="500"/>
                  </a:lnTo>
                  <a:lnTo>
                    <a:pt x="1423" y="481"/>
                  </a:lnTo>
                  <a:lnTo>
                    <a:pt x="1419" y="463"/>
                  </a:lnTo>
                  <a:lnTo>
                    <a:pt x="1415" y="444"/>
                  </a:lnTo>
                  <a:lnTo>
                    <a:pt x="1413" y="425"/>
                  </a:lnTo>
                  <a:lnTo>
                    <a:pt x="1411" y="405"/>
                  </a:lnTo>
                  <a:lnTo>
                    <a:pt x="1411" y="385"/>
                  </a:lnTo>
                  <a:lnTo>
                    <a:pt x="1411" y="366"/>
                  </a:lnTo>
                  <a:lnTo>
                    <a:pt x="1413" y="346"/>
                  </a:lnTo>
                  <a:lnTo>
                    <a:pt x="1415" y="327"/>
                  </a:lnTo>
                  <a:lnTo>
                    <a:pt x="1419" y="308"/>
                  </a:lnTo>
                  <a:lnTo>
                    <a:pt x="1423" y="288"/>
                  </a:lnTo>
                  <a:lnTo>
                    <a:pt x="1428" y="270"/>
                  </a:lnTo>
                  <a:lnTo>
                    <a:pt x="1431" y="261"/>
                  </a:lnTo>
                  <a:lnTo>
                    <a:pt x="1434" y="252"/>
                  </a:lnTo>
                  <a:lnTo>
                    <a:pt x="1437" y="243"/>
                  </a:lnTo>
                  <a:lnTo>
                    <a:pt x="1441" y="235"/>
                  </a:lnTo>
                  <a:lnTo>
                    <a:pt x="1448" y="218"/>
                  </a:lnTo>
                  <a:lnTo>
                    <a:pt x="1457" y="201"/>
                  </a:lnTo>
                  <a:lnTo>
                    <a:pt x="1466" y="185"/>
                  </a:lnTo>
                  <a:lnTo>
                    <a:pt x="1476" y="169"/>
                  </a:lnTo>
                  <a:lnTo>
                    <a:pt x="1486" y="154"/>
                  </a:lnTo>
                  <a:lnTo>
                    <a:pt x="1497" y="140"/>
                  </a:lnTo>
                  <a:lnTo>
                    <a:pt x="1503" y="133"/>
                  </a:lnTo>
                  <a:lnTo>
                    <a:pt x="1509" y="126"/>
                  </a:lnTo>
                  <a:lnTo>
                    <a:pt x="1522" y="113"/>
                  </a:lnTo>
                  <a:lnTo>
                    <a:pt x="1535" y="100"/>
                  </a:lnTo>
                  <a:lnTo>
                    <a:pt x="1542" y="94"/>
                  </a:lnTo>
                  <a:lnTo>
                    <a:pt x="1549" y="88"/>
                  </a:lnTo>
                  <a:lnTo>
                    <a:pt x="1563" y="76"/>
                  </a:lnTo>
                  <a:lnTo>
                    <a:pt x="1578" y="66"/>
                  </a:lnTo>
                  <a:lnTo>
                    <a:pt x="1594" y="56"/>
                  </a:lnTo>
                  <a:lnTo>
                    <a:pt x="1610" y="47"/>
                  </a:lnTo>
                  <a:lnTo>
                    <a:pt x="1626" y="38"/>
                  </a:lnTo>
                  <a:lnTo>
                    <a:pt x="1643" y="30"/>
                  </a:lnTo>
                  <a:lnTo>
                    <a:pt x="1652" y="27"/>
                  </a:lnTo>
                  <a:lnTo>
                    <a:pt x="1661" y="24"/>
                  </a:lnTo>
                  <a:lnTo>
                    <a:pt x="1669" y="20"/>
                  </a:lnTo>
                  <a:lnTo>
                    <a:pt x="1678" y="18"/>
                  </a:lnTo>
                  <a:lnTo>
                    <a:pt x="1697" y="12"/>
                  </a:lnTo>
                  <a:lnTo>
                    <a:pt x="1715" y="8"/>
                  </a:lnTo>
                  <a:lnTo>
                    <a:pt x="1725" y="6"/>
                  </a:lnTo>
                  <a:lnTo>
                    <a:pt x="1734" y="5"/>
                  </a:lnTo>
                  <a:lnTo>
                    <a:pt x="1753" y="2"/>
                  </a:lnTo>
                  <a:lnTo>
                    <a:pt x="1773" y="1"/>
                  </a:lnTo>
                  <a:lnTo>
                    <a:pt x="1793" y="0"/>
                  </a:lnTo>
                  <a:close/>
                  <a:moveTo>
                    <a:pt x="1793" y="661"/>
                  </a:moveTo>
                  <a:lnTo>
                    <a:pt x="1807" y="660"/>
                  </a:lnTo>
                  <a:lnTo>
                    <a:pt x="1821" y="659"/>
                  </a:lnTo>
                  <a:lnTo>
                    <a:pt x="1835" y="658"/>
                  </a:lnTo>
                  <a:lnTo>
                    <a:pt x="1848" y="655"/>
                  </a:lnTo>
                  <a:lnTo>
                    <a:pt x="1862" y="652"/>
                  </a:lnTo>
                  <a:lnTo>
                    <a:pt x="1876" y="648"/>
                  </a:lnTo>
                  <a:lnTo>
                    <a:pt x="1888" y="644"/>
                  </a:lnTo>
                  <a:lnTo>
                    <a:pt x="1901" y="639"/>
                  </a:lnTo>
                  <a:lnTo>
                    <a:pt x="1913" y="634"/>
                  </a:lnTo>
                  <a:lnTo>
                    <a:pt x="1925" y="628"/>
                  </a:lnTo>
                  <a:lnTo>
                    <a:pt x="1931" y="624"/>
                  </a:lnTo>
                  <a:lnTo>
                    <a:pt x="1937" y="621"/>
                  </a:lnTo>
                  <a:lnTo>
                    <a:pt x="1948" y="614"/>
                  </a:lnTo>
                  <a:lnTo>
                    <a:pt x="1959" y="606"/>
                  </a:lnTo>
                  <a:lnTo>
                    <a:pt x="1969" y="598"/>
                  </a:lnTo>
                  <a:lnTo>
                    <a:pt x="1979" y="589"/>
                  </a:lnTo>
                  <a:lnTo>
                    <a:pt x="1989" y="580"/>
                  </a:lnTo>
                  <a:lnTo>
                    <a:pt x="1998" y="571"/>
                  </a:lnTo>
                  <a:lnTo>
                    <a:pt x="2007" y="561"/>
                  </a:lnTo>
                  <a:lnTo>
                    <a:pt x="2015" y="550"/>
                  </a:lnTo>
                  <a:lnTo>
                    <a:pt x="2023" y="539"/>
                  </a:lnTo>
                  <a:lnTo>
                    <a:pt x="2030" y="528"/>
                  </a:lnTo>
                  <a:lnTo>
                    <a:pt x="2037" y="517"/>
                  </a:lnTo>
                  <a:lnTo>
                    <a:pt x="2043" y="505"/>
                  </a:lnTo>
                  <a:lnTo>
                    <a:pt x="2048" y="493"/>
                  </a:lnTo>
                  <a:lnTo>
                    <a:pt x="2053" y="480"/>
                  </a:lnTo>
                  <a:lnTo>
                    <a:pt x="2058" y="467"/>
                  </a:lnTo>
                  <a:lnTo>
                    <a:pt x="2061" y="454"/>
                  </a:lnTo>
                  <a:lnTo>
                    <a:pt x="2065" y="441"/>
                  </a:lnTo>
                  <a:lnTo>
                    <a:pt x="2067" y="427"/>
                  </a:lnTo>
                  <a:lnTo>
                    <a:pt x="2069" y="413"/>
                  </a:lnTo>
                  <a:lnTo>
                    <a:pt x="2070" y="399"/>
                  </a:lnTo>
                  <a:lnTo>
                    <a:pt x="2070" y="385"/>
                  </a:lnTo>
                  <a:lnTo>
                    <a:pt x="2070" y="371"/>
                  </a:lnTo>
                  <a:lnTo>
                    <a:pt x="2069" y="357"/>
                  </a:lnTo>
                  <a:lnTo>
                    <a:pt x="2067" y="344"/>
                  </a:lnTo>
                  <a:lnTo>
                    <a:pt x="2065" y="330"/>
                  </a:lnTo>
                  <a:lnTo>
                    <a:pt x="2061" y="317"/>
                  </a:lnTo>
                  <a:lnTo>
                    <a:pt x="2058" y="304"/>
                  </a:lnTo>
                  <a:lnTo>
                    <a:pt x="2053" y="290"/>
                  </a:lnTo>
                  <a:lnTo>
                    <a:pt x="2048" y="277"/>
                  </a:lnTo>
                  <a:lnTo>
                    <a:pt x="2043" y="265"/>
                  </a:lnTo>
                  <a:lnTo>
                    <a:pt x="2037" y="253"/>
                  </a:lnTo>
                  <a:lnTo>
                    <a:pt x="2030" y="241"/>
                  </a:lnTo>
                  <a:lnTo>
                    <a:pt x="2023" y="230"/>
                  </a:lnTo>
                  <a:lnTo>
                    <a:pt x="2015" y="219"/>
                  </a:lnTo>
                  <a:lnTo>
                    <a:pt x="2007" y="209"/>
                  </a:lnTo>
                  <a:lnTo>
                    <a:pt x="1998" y="199"/>
                  </a:lnTo>
                  <a:lnTo>
                    <a:pt x="1989" y="189"/>
                  </a:lnTo>
                  <a:lnTo>
                    <a:pt x="1979" y="180"/>
                  </a:lnTo>
                  <a:lnTo>
                    <a:pt x="1969" y="171"/>
                  </a:lnTo>
                  <a:lnTo>
                    <a:pt x="1959" y="163"/>
                  </a:lnTo>
                  <a:lnTo>
                    <a:pt x="1948" y="155"/>
                  </a:lnTo>
                  <a:lnTo>
                    <a:pt x="1937" y="147"/>
                  </a:lnTo>
                  <a:lnTo>
                    <a:pt x="1925" y="141"/>
                  </a:lnTo>
                  <a:lnTo>
                    <a:pt x="1913" y="135"/>
                  </a:lnTo>
                  <a:lnTo>
                    <a:pt x="1901" y="129"/>
                  </a:lnTo>
                  <a:lnTo>
                    <a:pt x="1888" y="124"/>
                  </a:lnTo>
                  <a:lnTo>
                    <a:pt x="1876" y="119"/>
                  </a:lnTo>
                  <a:lnTo>
                    <a:pt x="1862" y="116"/>
                  </a:lnTo>
                  <a:lnTo>
                    <a:pt x="1848" y="113"/>
                  </a:lnTo>
                  <a:lnTo>
                    <a:pt x="1835" y="110"/>
                  </a:lnTo>
                  <a:lnTo>
                    <a:pt x="1821" y="108"/>
                  </a:lnTo>
                  <a:lnTo>
                    <a:pt x="1807" y="107"/>
                  </a:lnTo>
                  <a:lnTo>
                    <a:pt x="1793" y="107"/>
                  </a:lnTo>
                  <a:lnTo>
                    <a:pt x="1779" y="107"/>
                  </a:lnTo>
                  <a:lnTo>
                    <a:pt x="1765" y="108"/>
                  </a:lnTo>
                  <a:lnTo>
                    <a:pt x="1751" y="110"/>
                  </a:lnTo>
                  <a:lnTo>
                    <a:pt x="1737" y="113"/>
                  </a:lnTo>
                  <a:lnTo>
                    <a:pt x="1724" y="116"/>
                  </a:lnTo>
                  <a:lnTo>
                    <a:pt x="1711" y="119"/>
                  </a:lnTo>
                  <a:lnTo>
                    <a:pt x="1698" y="124"/>
                  </a:lnTo>
                  <a:lnTo>
                    <a:pt x="1686" y="129"/>
                  </a:lnTo>
                  <a:lnTo>
                    <a:pt x="1674" y="135"/>
                  </a:lnTo>
                  <a:lnTo>
                    <a:pt x="1662" y="141"/>
                  </a:lnTo>
                  <a:lnTo>
                    <a:pt x="1650" y="147"/>
                  </a:lnTo>
                  <a:lnTo>
                    <a:pt x="1639" y="155"/>
                  </a:lnTo>
                  <a:lnTo>
                    <a:pt x="1628" y="163"/>
                  </a:lnTo>
                  <a:lnTo>
                    <a:pt x="1618" y="171"/>
                  </a:lnTo>
                  <a:lnTo>
                    <a:pt x="1608" y="180"/>
                  </a:lnTo>
                  <a:lnTo>
                    <a:pt x="1598" y="189"/>
                  </a:lnTo>
                  <a:lnTo>
                    <a:pt x="1589" y="199"/>
                  </a:lnTo>
                  <a:lnTo>
                    <a:pt x="1580" y="209"/>
                  </a:lnTo>
                  <a:lnTo>
                    <a:pt x="1572" y="219"/>
                  </a:lnTo>
                  <a:lnTo>
                    <a:pt x="1565" y="230"/>
                  </a:lnTo>
                  <a:lnTo>
                    <a:pt x="1557" y="241"/>
                  </a:lnTo>
                  <a:lnTo>
                    <a:pt x="1551" y="253"/>
                  </a:lnTo>
                  <a:lnTo>
                    <a:pt x="1545" y="265"/>
                  </a:lnTo>
                  <a:lnTo>
                    <a:pt x="1539" y="277"/>
                  </a:lnTo>
                  <a:lnTo>
                    <a:pt x="1534" y="290"/>
                  </a:lnTo>
                  <a:lnTo>
                    <a:pt x="1530" y="304"/>
                  </a:lnTo>
                  <a:lnTo>
                    <a:pt x="1526" y="317"/>
                  </a:lnTo>
                  <a:lnTo>
                    <a:pt x="1523" y="330"/>
                  </a:lnTo>
                  <a:lnTo>
                    <a:pt x="1520" y="344"/>
                  </a:lnTo>
                  <a:lnTo>
                    <a:pt x="1519" y="357"/>
                  </a:lnTo>
                  <a:lnTo>
                    <a:pt x="1518" y="371"/>
                  </a:lnTo>
                  <a:lnTo>
                    <a:pt x="1517" y="385"/>
                  </a:lnTo>
                  <a:lnTo>
                    <a:pt x="1518" y="399"/>
                  </a:lnTo>
                  <a:lnTo>
                    <a:pt x="1519" y="413"/>
                  </a:lnTo>
                  <a:lnTo>
                    <a:pt x="1520" y="427"/>
                  </a:lnTo>
                  <a:lnTo>
                    <a:pt x="1523" y="441"/>
                  </a:lnTo>
                  <a:lnTo>
                    <a:pt x="1526" y="454"/>
                  </a:lnTo>
                  <a:lnTo>
                    <a:pt x="1530" y="467"/>
                  </a:lnTo>
                  <a:lnTo>
                    <a:pt x="1534" y="480"/>
                  </a:lnTo>
                  <a:lnTo>
                    <a:pt x="1539" y="493"/>
                  </a:lnTo>
                  <a:lnTo>
                    <a:pt x="1545" y="505"/>
                  </a:lnTo>
                  <a:lnTo>
                    <a:pt x="1551" y="517"/>
                  </a:lnTo>
                  <a:lnTo>
                    <a:pt x="1557" y="528"/>
                  </a:lnTo>
                  <a:lnTo>
                    <a:pt x="1565" y="539"/>
                  </a:lnTo>
                  <a:lnTo>
                    <a:pt x="1572" y="550"/>
                  </a:lnTo>
                  <a:lnTo>
                    <a:pt x="1580" y="561"/>
                  </a:lnTo>
                  <a:lnTo>
                    <a:pt x="1589" y="571"/>
                  </a:lnTo>
                  <a:lnTo>
                    <a:pt x="1598" y="580"/>
                  </a:lnTo>
                  <a:lnTo>
                    <a:pt x="1608" y="589"/>
                  </a:lnTo>
                  <a:lnTo>
                    <a:pt x="1618" y="598"/>
                  </a:lnTo>
                  <a:lnTo>
                    <a:pt x="1628" y="606"/>
                  </a:lnTo>
                  <a:lnTo>
                    <a:pt x="1639" y="614"/>
                  </a:lnTo>
                  <a:lnTo>
                    <a:pt x="1650" y="621"/>
                  </a:lnTo>
                  <a:lnTo>
                    <a:pt x="1662" y="628"/>
                  </a:lnTo>
                  <a:lnTo>
                    <a:pt x="1674" y="634"/>
                  </a:lnTo>
                  <a:lnTo>
                    <a:pt x="1686" y="639"/>
                  </a:lnTo>
                  <a:lnTo>
                    <a:pt x="1698" y="644"/>
                  </a:lnTo>
                  <a:lnTo>
                    <a:pt x="1711" y="648"/>
                  </a:lnTo>
                  <a:lnTo>
                    <a:pt x="1724" y="652"/>
                  </a:lnTo>
                  <a:lnTo>
                    <a:pt x="1737" y="655"/>
                  </a:lnTo>
                  <a:lnTo>
                    <a:pt x="1751" y="658"/>
                  </a:lnTo>
                  <a:lnTo>
                    <a:pt x="1765" y="659"/>
                  </a:lnTo>
                  <a:lnTo>
                    <a:pt x="1779" y="660"/>
                  </a:lnTo>
                  <a:lnTo>
                    <a:pt x="1793" y="661"/>
                  </a:lnTo>
                  <a:close/>
                  <a:moveTo>
                    <a:pt x="2426" y="111"/>
                  </a:moveTo>
                  <a:lnTo>
                    <a:pt x="2235" y="111"/>
                  </a:lnTo>
                  <a:lnTo>
                    <a:pt x="2230" y="111"/>
                  </a:lnTo>
                  <a:lnTo>
                    <a:pt x="2227" y="109"/>
                  </a:lnTo>
                  <a:lnTo>
                    <a:pt x="2223" y="107"/>
                  </a:lnTo>
                  <a:lnTo>
                    <a:pt x="2220" y="105"/>
                  </a:lnTo>
                  <a:lnTo>
                    <a:pt x="2218" y="102"/>
                  </a:lnTo>
                  <a:lnTo>
                    <a:pt x="2216" y="98"/>
                  </a:lnTo>
                  <a:lnTo>
                    <a:pt x="2215" y="95"/>
                  </a:lnTo>
                  <a:lnTo>
                    <a:pt x="2214" y="91"/>
                  </a:lnTo>
                  <a:lnTo>
                    <a:pt x="2214" y="31"/>
                  </a:lnTo>
                  <a:lnTo>
                    <a:pt x="2215" y="27"/>
                  </a:lnTo>
                  <a:lnTo>
                    <a:pt x="2216" y="24"/>
                  </a:lnTo>
                  <a:lnTo>
                    <a:pt x="2218" y="20"/>
                  </a:lnTo>
                  <a:lnTo>
                    <a:pt x="2220" y="17"/>
                  </a:lnTo>
                  <a:lnTo>
                    <a:pt x="2223" y="15"/>
                  </a:lnTo>
                  <a:lnTo>
                    <a:pt x="2227" y="13"/>
                  </a:lnTo>
                  <a:lnTo>
                    <a:pt x="2230" y="11"/>
                  </a:lnTo>
                  <a:lnTo>
                    <a:pt x="2235" y="11"/>
                  </a:lnTo>
                  <a:lnTo>
                    <a:pt x="2727" y="11"/>
                  </a:lnTo>
                  <a:lnTo>
                    <a:pt x="2732" y="11"/>
                  </a:lnTo>
                  <a:lnTo>
                    <a:pt x="2736" y="13"/>
                  </a:lnTo>
                  <a:lnTo>
                    <a:pt x="2739" y="15"/>
                  </a:lnTo>
                  <a:lnTo>
                    <a:pt x="2742" y="17"/>
                  </a:lnTo>
                  <a:lnTo>
                    <a:pt x="2744" y="20"/>
                  </a:lnTo>
                  <a:lnTo>
                    <a:pt x="2746" y="24"/>
                  </a:lnTo>
                  <a:lnTo>
                    <a:pt x="2747" y="27"/>
                  </a:lnTo>
                  <a:lnTo>
                    <a:pt x="2748" y="31"/>
                  </a:lnTo>
                  <a:lnTo>
                    <a:pt x="2748" y="91"/>
                  </a:lnTo>
                  <a:lnTo>
                    <a:pt x="2747" y="95"/>
                  </a:lnTo>
                  <a:lnTo>
                    <a:pt x="2746" y="98"/>
                  </a:lnTo>
                  <a:lnTo>
                    <a:pt x="2744" y="102"/>
                  </a:lnTo>
                  <a:lnTo>
                    <a:pt x="2742" y="105"/>
                  </a:lnTo>
                  <a:lnTo>
                    <a:pt x="2739" y="107"/>
                  </a:lnTo>
                  <a:lnTo>
                    <a:pt x="2736" y="109"/>
                  </a:lnTo>
                  <a:lnTo>
                    <a:pt x="2732" y="111"/>
                  </a:lnTo>
                  <a:lnTo>
                    <a:pt x="2727" y="111"/>
                  </a:lnTo>
                  <a:lnTo>
                    <a:pt x="2536" y="111"/>
                  </a:lnTo>
                  <a:lnTo>
                    <a:pt x="2536" y="736"/>
                  </a:lnTo>
                  <a:lnTo>
                    <a:pt x="2536" y="740"/>
                  </a:lnTo>
                  <a:lnTo>
                    <a:pt x="2535" y="744"/>
                  </a:lnTo>
                  <a:lnTo>
                    <a:pt x="2533" y="747"/>
                  </a:lnTo>
                  <a:lnTo>
                    <a:pt x="2530" y="750"/>
                  </a:lnTo>
                  <a:lnTo>
                    <a:pt x="2527" y="753"/>
                  </a:lnTo>
                  <a:lnTo>
                    <a:pt x="2524" y="755"/>
                  </a:lnTo>
                  <a:lnTo>
                    <a:pt x="2520" y="756"/>
                  </a:lnTo>
                  <a:lnTo>
                    <a:pt x="2516" y="757"/>
                  </a:lnTo>
                  <a:lnTo>
                    <a:pt x="2446" y="757"/>
                  </a:lnTo>
                  <a:lnTo>
                    <a:pt x="2442" y="756"/>
                  </a:lnTo>
                  <a:lnTo>
                    <a:pt x="2438" y="755"/>
                  </a:lnTo>
                  <a:lnTo>
                    <a:pt x="2435" y="753"/>
                  </a:lnTo>
                  <a:lnTo>
                    <a:pt x="2432" y="750"/>
                  </a:lnTo>
                  <a:lnTo>
                    <a:pt x="2429" y="747"/>
                  </a:lnTo>
                  <a:lnTo>
                    <a:pt x="2427" y="744"/>
                  </a:lnTo>
                  <a:lnTo>
                    <a:pt x="2426" y="740"/>
                  </a:lnTo>
                  <a:lnTo>
                    <a:pt x="2426" y="736"/>
                  </a:lnTo>
                  <a:lnTo>
                    <a:pt x="2426" y="111"/>
                  </a:lnTo>
                  <a:close/>
                  <a:moveTo>
                    <a:pt x="2885" y="31"/>
                  </a:moveTo>
                  <a:lnTo>
                    <a:pt x="2885" y="27"/>
                  </a:lnTo>
                  <a:lnTo>
                    <a:pt x="2886" y="24"/>
                  </a:lnTo>
                  <a:lnTo>
                    <a:pt x="2888" y="20"/>
                  </a:lnTo>
                  <a:lnTo>
                    <a:pt x="2891" y="17"/>
                  </a:lnTo>
                  <a:lnTo>
                    <a:pt x="2893" y="15"/>
                  </a:lnTo>
                  <a:lnTo>
                    <a:pt x="2897" y="13"/>
                  </a:lnTo>
                  <a:lnTo>
                    <a:pt x="2901" y="11"/>
                  </a:lnTo>
                  <a:lnTo>
                    <a:pt x="2905" y="11"/>
                  </a:lnTo>
                  <a:lnTo>
                    <a:pt x="3331" y="11"/>
                  </a:lnTo>
                  <a:lnTo>
                    <a:pt x="3336" y="11"/>
                  </a:lnTo>
                  <a:lnTo>
                    <a:pt x="3340" y="13"/>
                  </a:lnTo>
                  <a:lnTo>
                    <a:pt x="3343" y="15"/>
                  </a:lnTo>
                  <a:lnTo>
                    <a:pt x="3346" y="17"/>
                  </a:lnTo>
                  <a:lnTo>
                    <a:pt x="3348" y="20"/>
                  </a:lnTo>
                  <a:lnTo>
                    <a:pt x="3350" y="24"/>
                  </a:lnTo>
                  <a:lnTo>
                    <a:pt x="3351" y="27"/>
                  </a:lnTo>
                  <a:lnTo>
                    <a:pt x="3352" y="31"/>
                  </a:lnTo>
                  <a:lnTo>
                    <a:pt x="3352" y="91"/>
                  </a:lnTo>
                  <a:lnTo>
                    <a:pt x="3351" y="95"/>
                  </a:lnTo>
                  <a:lnTo>
                    <a:pt x="3350" y="98"/>
                  </a:lnTo>
                  <a:lnTo>
                    <a:pt x="3348" y="102"/>
                  </a:lnTo>
                  <a:lnTo>
                    <a:pt x="3346" y="105"/>
                  </a:lnTo>
                  <a:lnTo>
                    <a:pt x="3343" y="107"/>
                  </a:lnTo>
                  <a:lnTo>
                    <a:pt x="3340" y="109"/>
                  </a:lnTo>
                  <a:lnTo>
                    <a:pt x="3336" y="111"/>
                  </a:lnTo>
                  <a:lnTo>
                    <a:pt x="3331" y="111"/>
                  </a:lnTo>
                  <a:lnTo>
                    <a:pt x="2994" y="111"/>
                  </a:lnTo>
                  <a:lnTo>
                    <a:pt x="2994" y="329"/>
                  </a:lnTo>
                  <a:lnTo>
                    <a:pt x="3278" y="329"/>
                  </a:lnTo>
                  <a:lnTo>
                    <a:pt x="3282" y="329"/>
                  </a:lnTo>
                  <a:lnTo>
                    <a:pt x="3286" y="331"/>
                  </a:lnTo>
                  <a:lnTo>
                    <a:pt x="3289" y="333"/>
                  </a:lnTo>
                  <a:lnTo>
                    <a:pt x="3292" y="335"/>
                  </a:lnTo>
                  <a:lnTo>
                    <a:pt x="3295" y="338"/>
                  </a:lnTo>
                  <a:lnTo>
                    <a:pt x="3297" y="342"/>
                  </a:lnTo>
                  <a:lnTo>
                    <a:pt x="3298" y="345"/>
                  </a:lnTo>
                  <a:lnTo>
                    <a:pt x="3298" y="349"/>
                  </a:lnTo>
                  <a:lnTo>
                    <a:pt x="3298" y="409"/>
                  </a:lnTo>
                  <a:lnTo>
                    <a:pt x="3298" y="413"/>
                  </a:lnTo>
                  <a:lnTo>
                    <a:pt x="3297" y="417"/>
                  </a:lnTo>
                  <a:lnTo>
                    <a:pt x="3295" y="420"/>
                  </a:lnTo>
                  <a:lnTo>
                    <a:pt x="3292" y="423"/>
                  </a:lnTo>
                  <a:lnTo>
                    <a:pt x="3289" y="426"/>
                  </a:lnTo>
                  <a:lnTo>
                    <a:pt x="3286" y="427"/>
                  </a:lnTo>
                  <a:lnTo>
                    <a:pt x="3282" y="429"/>
                  </a:lnTo>
                  <a:lnTo>
                    <a:pt x="3278" y="429"/>
                  </a:lnTo>
                  <a:lnTo>
                    <a:pt x="2994" y="429"/>
                  </a:lnTo>
                  <a:lnTo>
                    <a:pt x="2994" y="658"/>
                  </a:lnTo>
                  <a:lnTo>
                    <a:pt x="3331" y="658"/>
                  </a:lnTo>
                  <a:lnTo>
                    <a:pt x="3336" y="658"/>
                  </a:lnTo>
                  <a:lnTo>
                    <a:pt x="3340" y="659"/>
                  </a:lnTo>
                  <a:lnTo>
                    <a:pt x="3343" y="661"/>
                  </a:lnTo>
                  <a:lnTo>
                    <a:pt x="3346" y="664"/>
                  </a:lnTo>
                  <a:lnTo>
                    <a:pt x="3348" y="667"/>
                  </a:lnTo>
                  <a:lnTo>
                    <a:pt x="3350" y="670"/>
                  </a:lnTo>
                  <a:lnTo>
                    <a:pt x="3351" y="674"/>
                  </a:lnTo>
                  <a:lnTo>
                    <a:pt x="3352" y="678"/>
                  </a:lnTo>
                  <a:lnTo>
                    <a:pt x="3352" y="736"/>
                  </a:lnTo>
                  <a:lnTo>
                    <a:pt x="3351" y="740"/>
                  </a:lnTo>
                  <a:lnTo>
                    <a:pt x="3350" y="744"/>
                  </a:lnTo>
                  <a:lnTo>
                    <a:pt x="3348" y="747"/>
                  </a:lnTo>
                  <a:lnTo>
                    <a:pt x="3346" y="750"/>
                  </a:lnTo>
                  <a:lnTo>
                    <a:pt x="3343" y="753"/>
                  </a:lnTo>
                  <a:lnTo>
                    <a:pt x="3340" y="755"/>
                  </a:lnTo>
                  <a:lnTo>
                    <a:pt x="3336" y="756"/>
                  </a:lnTo>
                  <a:lnTo>
                    <a:pt x="3331" y="757"/>
                  </a:lnTo>
                  <a:lnTo>
                    <a:pt x="2905" y="757"/>
                  </a:lnTo>
                  <a:lnTo>
                    <a:pt x="2901" y="756"/>
                  </a:lnTo>
                  <a:lnTo>
                    <a:pt x="2897" y="755"/>
                  </a:lnTo>
                  <a:lnTo>
                    <a:pt x="2893" y="753"/>
                  </a:lnTo>
                  <a:lnTo>
                    <a:pt x="2891" y="750"/>
                  </a:lnTo>
                  <a:lnTo>
                    <a:pt x="2888" y="747"/>
                  </a:lnTo>
                  <a:lnTo>
                    <a:pt x="2886" y="744"/>
                  </a:lnTo>
                  <a:lnTo>
                    <a:pt x="2885" y="740"/>
                  </a:lnTo>
                  <a:lnTo>
                    <a:pt x="2885" y="736"/>
                  </a:lnTo>
                  <a:lnTo>
                    <a:pt x="2885" y="3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8791705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Oran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6763" y="5085230"/>
            <a:ext cx="3889037" cy="936130"/>
          </a:xfrm>
        </p:spPr>
        <p:txBody>
          <a:bodyPr anchor="t" anchorCtr="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E5E87FD4-3FE5-4E7C-82C1-8B972D4C0D02}" type="datetime1">
              <a:rPr lang="fi-FI" smtClean="0"/>
              <a:t>31.3.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Presentation name and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50B285B-2D20-4CC2-81CD-215A1F1E113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5375275" y="0"/>
            <a:ext cx="6816725" cy="6777038"/>
          </a:xfr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grpSp>
        <p:nvGrpSpPr>
          <p:cNvPr id="11" name="Group 10"/>
          <p:cNvGrpSpPr>
            <a:grpSpLocks noChangeAspect="1"/>
          </p:cNvGrpSpPr>
          <p:nvPr userDrawn="1"/>
        </p:nvGrpSpPr>
        <p:grpSpPr>
          <a:xfrm>
            <a:off x="767260" y="566640"/>
            <a:ext cx="1703100" cy="270000"/>
            <a:chOff x="1455738" y="2698750"/>
            <a:chExt cx="9272588" cy="1470025"/>
          </a:xfrm>
          <a:solidFill>
            <a:schemeClr val="bg1"/>
          </a:solidFill>
        </p:grpSpPr>
        <p:sp>
          <p:nvSpPr>
            <p:cNvPr id="13" name="Freeform 6"/>
            <p:cNvSpPr>
              <a:spLocks noEditPoints="1"/>
            </p:cNvSpPr>
            <p:nvPr userDrawn="1"/>
          </p:nvSpPr>
          <p:spPr bwMode="auto">
            <a:xfrm>
              <a:off x="1455738" y="2698750"/>
              <a:ext cx="2762250" cy="1416050"/>
            </a:xfrm>
            <a:custGeom>
              <a:avLst/>
              <a:gdLst>
                <a:gd name="T0" fmla="*/ 1740 w 1740"/>
                <a:gd name="T1" fmla="*/ 192 h 892"/>
                <a:gd name="T2" fmla="*/ 1591 w 1740"/>
                <a:gd name="T3" fmla="*/ 483 h 892"/>
                <a:gd name="T4" fmla="*/ 1457 w 1740"/>
                <a:gd name="T5" fmla="*/ 741 h 892"/>
                <a:gd name="T6" fmla="*/ 1047 w 1740"/>
                <a:gd name="T7" fmla="*/ 709 h 892"/>
                <a:gd name="T8" fmla="*/ 607 w 1740"/>
                <a:gd name="T9" fmla="*/ 713 h 892"/>
                <a:gd name="T10" fmla="*/ 257 w 1740"/>
                <a:gd name="T11" fmla="*/ 742 h 892"/>
                <a:gd name="T12" fmla="*/ 149 w 1740"/>
                <a:gd name="T13" fmla="*/ 483 h 892"/>
                <a:gd name="T14" fmla="*/ 0 w 1740"/>
                <a:gd name="T15" fmla="*/ 189 h 892"/>
                <a:gd name="T16" fmla="*/ 36 w 1740"/>
                <a:gd name="T17" fmla="*/ 180 h 892"/>
                <a:gd name="T18" fmla="*/ 121 w 1740"/>
                <a:gd name="T19" fmla="*/ 218 h 892"/>
                <a:gd name="T20" fmla="*/ 194 w 1740"/>
                <a:gd name="T21" fmla="*/ 280 h 892"/>
                <a:gd name="T22" fmla="*/ 249 w 1740"/>
                <a:gd name="T23" fmla="*/ 235 h 892"/>
                <a:gd name="T24" fmla="*/ 335 w 1740"/>
                <a:gd name="T25" fmla="*/ 232 h 892"/>
                <a:gd name="T26" fmla="*/ 390 w 1740"/>
                <a:gd name="T27" fmla="*/ 272 h 892"/>
                <a:gd name="T28" fmla="*/ 362 w 1740"/>
                <a:gd name="T29" fmla="*/ 310 h 892"/>
                <a:gd name="T30" fmla="*/ 334 w 1740"/>
                <a:gd name="T31" fmla="*/ 386 h 892"/>
                <a:gd name="T32" fmla="*/ 344 w 1740"/>
                <a:gd name="T33" fmla="*/ 462 h 892"/>
                <a:gd name="T34" fmla="*/ 405 w 1740"/>
                <a:gd name="T35" fmla="*/ 538 h 892"/>
                <a:gd name="T36" fmla="*/ 492 w 1740"/>
                <a:gd name="T37" fmla="*/ 572 h 892"/>
                <a:gd name="T38" fmla="*/ 590 w 1740"/>
                <a:gd name="T39" fmla="*/ 561 h 892"/>
                <a:gd name="T40" fmla="*/ 658 w 1740"/>
                <a:gd name="T41" fmla="*/ 519 h 892"/>
                <a:gd name="T42" fmla="*/ 706 w 1740"/>
                <a:gd name="T43" fmla="*/ 439 h 892"/>
                <a:gd name="T44" fmla="*/ 704 w 1740"/>
                <a:gd name="T45" fmla="*/ 352 h 892"/>
                <a:gd name="T46" fmla="*/ 653 w 1740"/>
                <a:gd name="T47" fmla="*/ 275 h 892"/>
                <a:gd name="T48" fmla="*/ 596 w 1740"/>
                <a:gd name="T49" fmla="*/ 239 h 892"/>
                <a:gd name="T50" fmla="*/ 615 w 1740"/>
                <a:gd name="T51" fmla="*/ 201 h 892"/>
                <a:gd name="T52" fmla="*/ 678 w 1740"/>
                <a:gd name="T53" fmla="*/ 167 h 892"/>
                <a:gd name="T54" fmla="*/ 760 w 1740"/>
                <a:gd name="T55" fmla="*/ 178 h 892"/>
                <a:gd name="T56" fmla="*/ 790 w 1740"/>
                <a:gd name="T57" fmla="*/ 100 h 892"/>
                <a:gd name="T58" fmla="*/ 822 w 1740"/>
                <a:gd name="T59" fmla="*/ 39 h 892"/>
                <a:gd name="T60" fmla="*/ 871 w 1740"/>
                <a:gd name="T61" fmla="*/ 0 h 892"/>
                <a:gd name="T62" fmla="*/ 920 w 1740"/>
                <a:gd name="T63" fmla="*/ 39 h 892"/>
                <a:gd name="T64" fmla="*/ 962 w 1740"/>
                <a:gd name="T65" fmla="*/ 152 h 892"/>
                <a:gd name="T66" fmla="*/ 1027 w 1740"/>
                <a:gd name="T67" fmla="*/ 165 h 892"/>
                <a:gd name="T68" fmla="*/ 1093 w 1740"/>
                <a:gd name="T69" fmla="*/ 177 h 892"/>
                <a:gd name="T70" fmla="*/ 1145 w 1740"/>
                <a:gd name="T71" fmla="*/ 228 h 892"/>
                <a:gd name="T72" fmla="*/ 1134 w 1740"/>
                <a:gd name="T73" fmla="*/ 245 h 892"/>
                <a:gd name="T74" fmla="*/ 1062 w 1740"/>
                <a:gd name="T75" fmla="*/ 301 h 892"/>
                <a:gd name="T76" fmla="*/ 1033 w 1740"/>
                <a:gd name="T77" fmla="*/ 364 h 892"/>
                <a:gd name="T78" fmla="*/ 1037 w 1740"/>
                <a:gd name="T79" fmla="*/ 447 h 892"/>
                <a:gd name="T80" fmla="*/ 1076 w 1740"/>
                <a:gd name="T81" fmla="*/ 513 h 892"/>
                <a:gd name="T82" fmla="*/ 1159 w 1740"/>
                <a:gd name="T83" fmla="*/ 564 h 892"/>
                <a:gd name="T84" fmla="*/ 1257 w 1740"/>
                <a:gd name="T85" fmla="*/ 570 h 892"/>
                <a:gd name="T86" fmla="*/ 1348 w 1740"/>
                <a:gd name="T87" fmla="*/ 527 h 892"/>
                <a:gd name="T88" fmla="*/ 1393 w 1740"/>
                <a:gd name="T89" fmla="*/ 470 h 892"/>
                <a:gd name="T90" fmla="*/ 1406 w 1740"/>
                <a:gd name="T91" fmla="*/ 386 h 892"/>
                <a:gd name="T92" fmla="*/ 1378 w 1740"/>
                <a:gd name="T93" fmla="*/ 310 h 892"/>
                <a:gd name="T94" fmla="*/ 1350 w 1740"/>
                <a:gd name="T95" fmla="*/ 270 h 892"/>
                <a:gd name="T96" fmla="*/ 1400 w 1740"/>
                <a:gd name="T97" fmla="*/ 234 h 892"/>
                <a:gd name="T98" fmla="*/ 1468 w 1740"/>
                <a:gd name="T99" fmla="*/ 228 h 892"/>
                <a:gd name="T100" fmla="*/ 1530 w 1740"/>
                <a:gd name="T101" fmla="*/ 261 h 892"/>
                <a:gd name="T102" fmla="*/ 1602 w 1740"/>
                <a:gd name="T103" fmla="*/ 232 h 892"/>
                <a:gd name="T104" fmla="*/ 1696 w 1740"/>
                <a:gd name="T105" fmla="*/ 181 h 892"/>
                <a:gd name="T106" fmla="*/ 1458 w 1740"/>
                <a:gd name="T107" fmla="*/ 812 h 892"/>
                <a:gd name="T108" fmla="*/ 1432 w 1740"/>
                <a:gd name="T109" fmla="*/ 892 h 892"/>
                <a:gd name="T110" fmla="*/ 946 w 1740"/>
                <a:gd name="T111" fmla="*/ 861 h 892"/>
                <a:gd name="T112" fmla="*/ 313 w 1740"/>
                <a:gd name="T113" fmla="*/ 892 h 892"/>
                <a:gd name="T114" fmla="*/ 280 w 1740"/>
                <a:gd name="T115" fmla="*/ 816 h 892"/>
                <a:gd name="T116" fmla="*/ 457 w 1740"/>
                <a:gd name="T117" fmla="*/ 790 h 892"/>
                <a:gd name="T118" fmla="*/ 914 w 1740"/>
                <a:gd name="T119" fmla="*/ 772 h 892"/>
                <a:gd name="T120" fmla="*/ 1449 w 1740"/>
                <a:gd name="T121" fmla="*/ 806 h 8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40" h="892">
                  <a:moveTo>
                    <a:pt x="1729" y="178"/>
                  </a:moveTo>
                  <a:lnTo>
                    <a:pt x="1734" y="179"/>
                  </a:lnTo>
                  <a:lnTo>
                    <a:pt x="1735" y="180"/>
                  </a:lnTo>
                  <a:lnTo>
                    <a:pt x="1737" y="181"/>
                  </a:lnTo>
                  <a:lnTo>
                    <a:pt x="1738" y="182"/>
                  </a:lnTo>
                  <a:lnTo>
                    <a:pt x="1739" y="184"/>
                  </a:lnTo>
                  <a:lnTo>
                    <a:pt x="1740" y="186"/>
                  </a:lnTo>
                  <a:lnTo>
                    <a:pt x="1740" y="188"/>
                  </a:lnTo>
                  <a:lnTo>
                    <a:pt x="1740" y="192"/>
                  </a:lnTo>
                  <a:lnTo>
                    <a:pt x="1738" y="194"/>
                  </a:lnTo>
                  <a:lnTo>
                    <a:pt x="1718" y="230"/>
                  </a:lnTo>
                  <a:lnTo>
                    <a:pt x="1698" y="266"/>
                  </a:lnTo>
                  <a:lnTo>
                    <a:pt x="1678" y="302"/>
                  </a:lnTo>
                  <a:lnTo>
                    <a:pt x="1659" y="338"/>
                  </a:lnTo>
                  <a:lnTo>
                    <a:pt x="1641" y="375"/>
                  </a:lnTo>
                  <a:lnTo>
                    <a:pt x="1624" y="411"/>
                  </a:lnTo>
                  <a:lnTo>
                    <a:pt x="1607" y="447"/>
                  </a:lnTo>
                  <a:lnTo>
                    <a:pt x="1591" y="483"/>
                  </a:lnTo>
                  <a:lnTo>
                    <a:pt x="1561" y="552"/>
                  </a:lnTo>
                  <a:lnTo>
                    <a:pt x="1534" y="618"/>
                  </a:lnTo>
                  <a:lnTo>
                    <a:pt x="1510" y="680"/>
                  </a:lnTo>
                  <a:lnTo>
                    <a:pt x="1489" y="736"/>
                  </a:lnTo>
                  <a:lnTo>
                    <a:pt x="1488" y="739"/>
                  </a:lnTo>
                  <a:lnTo>
                    <a:pt x="1485" y="741"/>
                  </a:lnTo>
                  <a:lnTo>
                    <a:pt x="1482" y="743"/>
                  </a:lnTo>
                  <a:lnTo>
                    <a:pt x="1479" y="743"/>
                  </a:lnTo>
                  <a:lnTo>
                    <a:pt x="1457" y="741"/>
                  </a:lnTo>
                  <a:lnTo>
                    <a:pt x="1412" y="736"/>
                  </a:lnTo>
                  <a:lnTo>
                    <a:pt x="1385" y="733"/>
                  </a:lnTo>
                  <a:lnTo>
                    <a:pt x="1356" y="730"/>
                  </a:lnTo>
                  <a:lnTo>
                    <a:pt x="1324" y="727"/>
                  </a:lnTo>
                  <a:lnTo>
                    <a:pt x="1289" y="724"/>
                  </a:lnTo>
                  <a:lnTo>
                    <a:pt x="1214" y="718"/>
                  </a:lnTo>
                  <a:lnTo>
                    <a:pt x="1133" y="713"/>
                  </a:lnTo>
                  <a:lnTo>
                    <a:pt x="1090" y="711"/>
                  </a:lnTo>
                  <a:lnTo>
                    <a:pt x="1047" y="709"/>
                  </a:lnTo>
                  <a:lnTo>
                    <a:pt x="1003" y="708"/>
                  </a:lnTo>
                  <a:lnTo>
                    <a:pt x="959" y="707"/>
                  </a:lnTo>
                  <a:lnTo>
                    <a:pt x="915" y="706"/>
                  </a:lnTo>
                  <a:lnTo>
                    <a:pt x="871" y="706"/>
                  </a:lnTo>
                  <a:lnTo>
                    <a:pt x="826" y="706"/>
                  </a:lnTo>
                  <a:lnTo>
                    <a:pt x="782" y="707"/>
                  </a:lnTo>
                  <a:lnTo>
                    <a:pt x="738" y="708"/>
                  </a:lnTo>
                  <a:lnTo>
                    <a:pt x="693" y="709"/>
                  </a:lnTo>
                  <a:lnTo>
                    <a:pt x="607" y="713"/>
                  </a:lnTo>
                  <a:lnTo>
                    <a:pt x="526" y="718"/>
                  </a:lnTo>
                  <a:lnTo>
                    <a:pt x="488" y="721"/>
                  </a:lnTo>
                  <a:lnTo>
                    <a:pt x="451" y="724"/>
                  </a:lnTo>
                  <a:lnTo>
                    <a:pt x="384" y="730"/>
                  </a:lnTo>
                  <a:lnTo>
                    <a:pt x="328" y="736"/>
                  </a:lnTo>
                  <a:lnTo>
                    <a:pt x="284" y="741"/>
                  </a:lnTo>
                  <a:lnTo>
                    <a:pt x="263" y="743"/>
                  </a:lnTo>
                  <a:lnTo>
                    <a:pt x="259" y="743"/>
                  </a:lnTo>
                  <a:lnTo>
                    <a:pt x="257" y="742"/>
                  </a:lnTo>
                  <a:lnTo>
                    <a:pt x="255" y="741"/>
                  </a:lnTo>
                  <a:lnTo>
                    <a:pt x="254" y="740"/>
                  </a:lnTo>
                  <a:lnTo>
                    <a:pt x="253" y="739"/>
                  </a:lnTo>
                  <a:lnTo>
                    <a:pt x="251" y="736"/>
                  </a:lnTo>
                  <a:lnTo>
                    <a:pt x="230" y="680"/>
                  </a:lnTo>
                  <a:lnTo>
                    <a:pt x="206" y="618"/>
                  </a:lnTo>
                  <a:lnTo>
                    <a:pt x="179" y="552"/>
                  </a:lnTo>
                  <a:lnTo>
                    <a:pt x="164" y="518"/>
                  </a:lnTo>
                  <a:lnTo>
                    <a:pt x="149" y="483"/>
                  </a:lnTo>
                  <a:lnTo>
                    <a:pt x="116" y="411"/>
                  </a:lnTo>
                  <a:lnTo>
                    <a:pt x="99" y="374"/>
                  </a:lnTo>
                  <a:lnTo>
                    <a:pt x="81" y="338"/>
                  </a:lnTo>
                  <a:lnTo>
                    <a:pt x="62" y="302"/>
                  </a:lnTo>
                  <a:lnTo>
                    <a:pt x="42" y="266"/>
                  </a:lnTo>
                  <a:lnTo>
                    <a:pt x="22" y="230"/>
                  </a:lnTo>
                  <a:lnTo>
                    <a:pt x="2" y="194"/>
                  </a:lnTo>
                  <a:lnTo>
                    <a:pt x="1" y="191"/>
                  </a:lnTo>
                  <a:lnTo>
                    <a:pt x="0" y="189"/>
                  </a:lnTo>
                  <a:lnTo>
                    <a:pt x="0" y="186"/>
                  </a:lnTo>
                  <a:lnTo>
                    <a:pt x="2" y="183"/>
                  </a:lnTo>
                  <a:lnTo>
                    <a:pt x="3" y="181"/>
                  </a:lnTo>
                  <a:lnTo>
                    <a:pt x="6" y="179"/>
                  </a:lnTo>
                  <a:lnTo>
                    <a:pt x="8" y="178"/>
                  </a:lnTo>
                  <a:lnTo>
                    <a:pt x="11" y="178"/>
                  </a:lnTo>
                  <a:lnTo>
                    <a:pt x="19" y="178"/>
                  </a:lnTo>
                  <a:lnTo>
                    <a:pt x="28" y="179"/>
                  </a:lnTo>
                  <a:lnTo>
                    <a:pt x="36" y="180"/>
                  </a:lnTo>
                  <a:lnTo>
                    <a:pt x="44" y="181"/>
                  </a:lnTo>
                  <a:lnTo>
                    <a:pt x="52" y="183"/>
                  </a:lnTo>
                  <a:lnTo>
                    <a:pt x="59" y="186"/>
                  </a:lnTo>
                  <a:lnTo>
                    <a:pt x="74" y="191"/>
                  </a:lnTo>
                  <a:lnTo>
                    <a:pt x="82" y="194"/>
                  </a:lnTo>
                  <a:lnTo>
                    <a:pt x="89" y="198"/>
                  </a:lnTo>
                  <a:lnTo>
                    <a:pt x="102" y="205"/>
                  </a:lnTo>
                  <a:lnTo>
                    <a:pt x="115" y="214"/>
                  </a:lnTo>
                  <a:lnTo>
                    <a:pt x="121" y="218"/>
                  </a:lnTo>
                  <a:lnTo>
                    <a:pt x="127" y="223"/>
                  </a:lnTo>
                  <a:lnTo>
                    <a:pt x="133" y="227"/>
                  </a:lnTo>
                  <a:lnTo>
                    <a:pt x="138" y="232"/>
                  </a:lnTo>
                  <a:lnTo>
                    <a:pt x="149" y="241"/>
                  </a:lnTo>
                  <a:lnTo>
                    <a:pt x="167" y="259"/>
                  </a:lnTo>
                  <a:lnTo>
                    <a:pt x="174" y="267"/>
                  </a:lnTo>
                  <a:lnTo>
                    <a:pt x="181" y="275"/>
                  </a:lnTo>
                  <a:lnTo>
                    <a:pt x="190" y="287"/>
                  </a:lnTo>
                  <a:lnTo>
                    <a:pt x="194" y="280"/>
                  </a:lnTo>
                  <a:lnTo>
                    <a:pt x="199" y="273"/>
                  </a:lnTo>
                  <a:lnTo>
                    <a:pt x="204" y="267"/>
                  </a:lnTo>
                  <a:lnTo>
                    <a:pt x="210" y="261"/>
                  </a:lnTo>
                  <a:lnTo>
                    <a:pt x="216" y="256"/>
                  </a:lnTo>
                  <a:lnTo>
                    <a:pt x="222" y="251"/>
                  </a:lnTo>
                  <a:lnTo>
                    <a:pt x="228" y="246"/>
                  </a:lnTo>
                  <a:lnTo>
                    <a:pt x="235" y="242"/>
                  </a:lnTo>
                  <a:lnTo>
                    <a:pt x="242" y="238"/>
                  </a:lnTo>
                  <a:lnTo>
                    <a:pt x="249" y="235"/>
                  </a:lnTo>
                  <a:lnTo>
                    <a:pt x="264" y="230"/>
                  </a:lnTo>
                  <a:lnTo>
                    <a:pt x="272" y="228"/>
                  </a:lnTo>
                  <a:lnTo>
                    <a:pt x="280" y="227"/>
                  </a:lnTo>
                  <a:lnTo>
                    <a:pt x="288" y="226"/>
                  </a:lnTo>
                  <a:lnTo>
                    <a:pt x="296" y="226"/>
                  </a:lnTo>
                  <a:lnTo>
                    <a:pt x="309" y="226"/>
                  </a:lnTo>
                  <a:lnTo>
                    <a:pt x="316" y="227"/>
                  </a:lnTo>
                  <a:lnTo>
                    <a:pt x="322" y="228"/>
                  </a:lnTo>
                  <a:lnTo>
                    <a:pt x="335" y="232"/>
                  </a:lnTo>
                  <a:lnTo>
                    <a:pt x="346" y="236"/>
                  </a:lnTo>
                  <a:lnTo>
                    <a:pt x="358" y="242"/>
                  </a:lnTo>
                  <a:lnTo>
                    <a:pt x="368" y="249"/>
                  </a:lnTo>
                  <a:lnTo>
                    <a:pt x="374" y="253"/>
                  </a:lnTo>
                  <a:lnTo>
                    <a:pt x="378" y="257"/>
                  </a:lnTo>
                  <a:lnTo>
                    <a:pt x="388" y="266"/>
                  </a:lnTo>
                  <a:lnTo>
                    <a:pt x="389" y="268"/>
                  </a:lnTo>
                  <a:lnTo>
                    <a:pt x="390" y="270"/>
                  </a:lnTo>
                  <a:lnTo>
                    <a:pt x="390" y="272"/>
                  </a:lnTo>
                  <a:lnTo>
                    <a:pt x="390" y="274"/>
                  </a:lnTo>
                  <a:lnTo>
                    <a:pt x="390" y="276"/>
                  </a:lnTo>
                  <a:lnTo>
                    <a:pt x="389" y="278"/>
                  </a:lnTo>
                  <a:lnTo>
                    <a:pt x="388" y="280"/>
                  </a:lnTo>
                  <a:lnTo>
                    <a:pt x="387" y="281"/>
                  </a:lnTo>
                  <a:lnTo>
                    <a:pt x="380" y="288"/>
                  </a:lnTo>
                  <a:lnTo>
                    <a:pt x="374" y="295"/>
                  </a:lnTo>
                  <a:lnTo>
                    <a:pt x="368" y="303"/>
                  </a:lnTo>
                  <a:lnTo>
                    <a:pt x="362" y="310"/>
                  </a:lnTo>
                  <a:lnTo>
                    <a:pt x="357" y="318"/>
                  </a:lnTo>
                  <a:lnTo>
                    <a:pt x="353" y="326"/>
                  </a:lnTo>
                  <a:lnTo>
                    <a:pt x="349" y="334"/>
                  </a:lnTo>
                  <a:lnTo>
                    <a:pt x="345" y="342"/>
                  </a:lnTo>
                  <a:lnTo>
                    <a:pt x="342" y="351"/>
                  </a:lnTo>
                  <a:lnTo>
                    <a:pt x="339" y="360"/>
                  </a:lnTo>
                  <a:lnTo>
                    <a:pt x="337" y="368"/>
                  </a:lnTo>
                  <a:lnTo>
                    <a:pt x="335" y="377"/>
                  </a:lnTo>
                  <a:lnTo>
                    <a:pt x="334" y="386"/>
                  </a:lnTo>
                  <a:lnTo>
                    <a:pt x="333" y="395"/>
                  </a:lnTo>
                  <a:lnTo>
                    <a:pt x="333" y="404"/>
                  </a:lnTo>
                  <a:lnTo>
                    <a:pt x="333" y="414"/>
                  </a:lnTo>
                  <a:lnTo>
                    <a:pt x="334" y="422"/>
                  </a:lnTo>
                  <a:lnTo>
                    <a:pt x="335" y="430"/>
                  </a:lnTo>
                  <a:lnTo>
                    <a:pt x="337" y="438"/>
                  </a:lnTo>
                  <a:lnTo>
                    <a:pt x="339" y="446"/>
                  </a:lnTo>
                  <a:lnTo>
                    <a:pt x="342" y="454"/>
                  </a:lnTo>
                  <a:lnTo>
                    <a:pt x="344" y="462"/>
                  </a:lnTo>
                  <a:lnTo>
                    <a:pt x="348" y="470"/>
                  </a:lnTo>
                  <a:lnTo>
                    <a:pt x="351" y="477"/>
                  </a:lnTo>
                  <a:lnTo>
                    <a:pt x="355" y="484"/>
                  </a:lnTo>
                  <a:lnTo>
                    <a:pt x="360" y="491"/>
                  </a:lnTo>
                  <a:lnTo>
                    <a:pt x="369" y="504"/>
                  </a:lnTo>
                  <a:lnTo>
                    <a:pt x="380" y="516"/>
                  </a:lnTo>
                  <a:lnTo>
                    <a:pt x="386" y="522"/>
                  </a:lnTo>
                  <a:lnTo>
                    <a:pt x="392" y="527"/>
                  </a:lnTo>
                  <a:lnTo>
                    <a:pt x="405" y="538"/>
                  </a:lnTo>
                  <a:lnTo>
                    <a:pt x="412" y="542"/>
                  </a:lnTo>
                  <a:lnTo>
                    <a:pt x="419" y="547"/>
                  </a:lnTo>
                  <a:lnTo>
                    <a:pt x="434" y="555"/>
                  </a:lnTo>
                  <a:lnTo>
                    <a:pt x="442" y="558"/>
                  </a:lnTo>
                  <a:lnTo>
                    <a:pt x="450" y="561"/>
                  </a:lnTo>
                  <a:lnTo>
                    <a:pt x="466" y="566"/>
                  </a:lnTo>
                  <a:lnTo>
                    <a:pt x="475" y="569"/>
                  </a:lnTo>
                  <a:lnTo>
                    <a:pt x="484" y="570"/>
                  </a:lnTo>
                  <a:lnTo>
                    <a:pt x="492" y="572"/>
                  </a:lnTo>
                  <a:lnTo>
                    <a:pt x="501" y="573"/>
                  </a:lnTo>
                  <a:lnTo>
                    <a:pt x="519" y="573"/>
                  </a:lnTo>
                  <a:lnTo>
                    <a:pt x="534" y="573"/>
                  </a:lnTo>
                  <a:lnTo>
                    <a:pt x="544" y="572"/>
                  </a:lnTo>
                  <a:lnTo>
                    <a:pt x="553" y="571"/>
                  </a:lnTo>
                  <a:lnTo>
                    <a:pt x="563" y="569"/>
                  </a:lnTo>
                  <a:lnTo>
                    <a:pt x="572" y="567"/>
                  </a:lnTo>
                  <a:lnTo>
                    <a:pt x="581" y="564"/>
                  </a:lnTo>
                  <a:lnTo>
                    <a:pt x="590" y="561"/>
                  </a:lnTo>
                  <a:lnTo>
                    <a:pt x="598" y="558"/>
                  </a:lnTo>
                  <a:lnTo>
                    <a:pt x="607" y="554"/>
                  </a:lnTo>
                  <a:lnTo>
                    <a:pt x="615" y="550"/>
                  </a:lnTo>
                  <a:lnTo>
                    <a:pt x="623" y="546"/>
                  </a:lnTo>
                  <a:lnTo>
                    <a:pt x="630" y="541"/>
                  </a:lnTo>
                  <a:lnTo>
                    <a:pt x="637" y="536"/>
                  </a:lnTo>
                  <a:lnTo>
                    <a:pt x="645" y="531"/>
                  </a:lnTo>
                  <a:lnTo>
                    <a:pt x="651" y="525"/>
                  </a:lnTo>
                  <a:lnTo>
                    <a:pt x="658" y="519"/>
                  </a:lnTo>
                  <a:lnTo>
                    <a:pt x="664" y="513"/>
                  </a:lnTo>
                  <a:lnTo>
                    <a:pt x="670" y="507"/>
                  </a:lnTo>
                  <a:lnTo>
                    <a:pt x="675" y="500"/>
                  </a:lnTo>
                  <a:lnTo>
                    <a:pt x="685" y="486"/>
                  </a:lnTo>
                  <a:lnTo>
                    <a:pt x="690" y="479"/>
                  </a:lnTo>
                  <a:lnTo>
                    <a:pt x="694" y="471"/>
                  </a:lnTo>
                  <a:lnTo>
                    <a:pt x="701" y="455"/>
                  </a:lnTo>
                  <a:lnTo>
                    <a:pt x="703" y="447"/>
                  </a:lnTo>
                  <a:lnTo>
                    <a:pt x="706" y="439"/>
                  </a:lnTo>
                  <a:lnTo>
                    <a:pt x="708" y="430"/>
                  </a:lnTo>
                  <a:lnTo>
                    <a:pt x="709" y="422"/>
                  </a:lnTo>
                  <a:lnTo>
                    <a:pt x="710" y="413"/>
                  </a:lnTo>
                  <a:lnTo>
                    <a:pt x="711" y="405"/>
                  </a:lnTo>
                  <a:lnTo>
                    <a:pt x="711" y="396"/>
                  </a:lnTo>
                  <a:lnTo>
                    <a:pt x="711" y="387"/>
                  </a:lnTo>
                  <a:lnTo>
                    <a:pt x="709" y="375"/>
                  </a:lnTo>
                  <a:lnTo>
                    <a:pt x="707" y="364"/>
                  </a:lnTo>
                  <a:lnTo>
                    <a:pt x="704" y="352"/>
                  </a:lnTo>
                  <a:lnTo>
                    <a:pt x="701" y="341"/>
                  </a:lnTo>
                  <a:lnTo>
                    <a:pt x="696" y="331"/>
                  </a:lnTo>
                  <a:lnTo>
                    <a:pt x="691" y="320"/>
                  </a:lnTo>
                  <a:lnTo>
                    <a:pt x="685" y="310"/>
                  </a:lnTo>
                  <a:lnTo>
                    <a:pt x="678" y="301"/>
                  </a:lnTo>
                  <a:lnTo>
                    <a:pt x="674" y="296"/>
                  </a:lnTo>
                  <a:lnTo>
                    <a:pt x="670" y="292"/>
                  </a:lnTo>
                  <a:lnTo>
                    <a:pt x="662" y="283"/>
                  </a:lnTo>
                  <a:lnTo>
                    <a:pt x="653" y="275"/>
                  </a:lnTo>
                  <a:lnTo>
                    <a:pt x="649" y="271"/>
                  </a:lnTo>
                  <a:lnTo>
                    <a:pt x="644" y="267"/>
                  </a:lnTo>
                  <a:lnTo>
                    <a:pt x="634" y="260"/>
                  </a:lnTo>
                  <a:lnTo>
                    <a:pt x="624" y="254"/>
                  </a:lnTo>
                  <a:lnTo>
                    <a:pt x="612" y="248"/>
                  </a:lnTo>
                  <a:lnTo>
                    <a:pt x="601" y="243"/>
                  </a:lnTo>
                  <a:lnTo>
                    <a:pt x="599" y="242"/>
                  </a:lnTo>
                  <a:lnTo>
                    <a:pt x="597" y="240"/>
                  </a:lnTo>
                  <a:lnTo>
                    <a:pt x="596" y="239"/>
                  </a:lnTo>
                  <a:lnTo>
                    <a:pt x="595" y="237"/>
                  </a:lnTo>
                  <a:lnTo>
                    <a:pt x="594" y="234"/>
                  </a:lnTo>
                  <a:lnTo>
                    <a:pt x="594" y="232"/>
                  </a:lnTo>
                  <a:lnTo>
                    <a:pt x="595" y="230"/>
                  </a:lnTo>
                  <a:lnTo>
                    <a:pt x="595" y="228"/>
                  </a:lnTo>
                  <a:lnTo>
                    <a:pt x="600" y="221"/>
                  </a:lnTo>
                  <a:lnTo>
                    <a:pt x="604" y="214"/>
                  </a:lnTo>
                  <a:lnTo>
                    <a:pt x="610" y="207"/>
                  </a:lnTo>
                  <a:lnTo>
                    <a:pt x="615" y="201"/>
                  </a:lnTo>
                  <a:lnTo>
                    <a:pt x="621" y="196"/>
                  </a:lnTo>
                  <a:lnTo>
                    <a:pt x="627" y="190"/>
                  </a:lnTo>
                  <a:lnTo>
                    <a:pt x="634" y="186"/>
                  </a:lnTo>
                  <a:lnTo>
                    <a:pt x="641" y="181"/>
                  </a:lnTo>
                  <a:lnTo>
                    <a:pt x="648" y="177"/>
                  </a:lnTo>
                  <a:lnTo>
                    <a:pt x="655" y="174"/>
                  </a:lnTo>
                  <a:lnTo>
                    <a:pt x="663" y="171"/>
                  </a:lnTo>
                  <a:lnTo>
                    <a:pt x="670" y="169"/>
                  </a:lnTo>
                  <a:lnTo>
                    <a:pt x="678" y="167"/>
                  </a:lnTo>
                  <a:lnTo>
                    <a:pt x="686" y="165"/>
                  </a:lnTo>
                  <a:lnTo>
                    <a:pt x="695" y="164"/>
                  </a:lnTo>
                  <a:lnTo>
                    <a:pt x="703" y="164"/>
                  </a:lnTo>
                  <a:lnTo>
                    <a:pt x="713" y="165"/>
                  </a:lnTo>
                  <a:lnTo>
                    <a:pt x="722" y="166"/>
                  </a:lnTo>
                  <a:lnTo>
                    <a:pt x="733" y="168"/>
                  </a:lnTo>
                  <a:lnTo>
                    <a:pt x="742" y="170"/>
                  </a:lnTo>
                  <a:lnTo>
                    <a:pt x="751" y="174"/>
                  </a:lnTo>
                  <a:lnTo>
                    <a:pt x="760" y="178"/>
                  </a:lnTo>
                  <a:lnTo>
                    <a:pt x="768" y="182"/>
                  </a:lnTo>
                  <a:lnTo>
                    <a:pt x="776" y="188"/>
                  </a:lnTo>
                  <a:lnTo>
                    <a:pt x="777" y="173"/>
                  </a:lnTo>
                  <a:lnTo>
                    <a:pt x="778" y="163"/>
                  </a:lnTo>
                  <a:lnTo>
                    <a:pt x="779" y="152"/>
                  </a:lnTo>
                  <a:lnTo>
                    <a:pt x="781" y="140"/>
                  </a:lnTo>
                  <a:lnTo>
                    <a:pt x="783" y="127"/>
                  </a:lnTo>
                  <a:lnTo>
                    <a:pt x="786" y="114"/>
                  </a:lnTo>
                  <a:lnTo>
                    <a:pt x="790" y="100"/>
                  </a:lnTo>
                  <a:lnTo>
                    <a:pt x="795" y="86"/>
                  </a:lnTo>
                  <a:lnTo>
                    <a:pt x="798" y="79"/>
                  </a:lnTo>
                  <a:lnTo>
                    <a:pt x="801" y="72"/>
                  </a:lnTo>
                  <a:lnTo>
                    <a:pt x="805" y="66"/>
                  </a:lnTo>
                  <a:lnTo>
                    <a:pt x="808" y="59"/>
                  </a:lnTo>
                  <a:lnTo>
                    <a:pt x="812" y="52"/>
                  </a:lnTo>
                  <a:lnTo>
                    <a:pt x="815" y="49"/>
                  </a:lnTo>
                  <a:lnTo>
                    <a:pt x="817" y="46"/>
                  </a:lnTo>
                  <a:lnTo>
                    <a:pt x="822" y="39"/>
                  </a:lnTo>
                  <a:lnTo>
                    <a:pt x="827" y="33"/>
                  </a:lnTo>
                  <a:lnTo>
                    <a:pt x="832" y="27"/>
                  </a:lnTo>
                  <a:lnTo>
                    <a:pt x="838" y="21"/>
                  </a:lnTo>
                  <a:lnTo>
                    <a:pt x="844" y="16"/>
                  </a:lnTo>
                  <a:lnTo>
                    <a:pt x="851" y="11"/>
                  </a:lnTo>
                  <a:lnTo>
                    <a:pt x="858" y="6"/>
                  </a:lnTo>
                  <a:lnTo>
                    <a:pt x="865" y="1"/>
                  </a:lnTo>
                  <a:lnTo>
                    <a:pt x="868" y="0"/>
                  </a:lnTo>
                  <a:lnTo>
                    <a:pt x="871" y="0"/>
                  </a:lnTo>
                  <a:lnTo>
                    <a:pt x="873" y="0"/>
                  </a:lnTo>
                  <a:lnTo>
                    <a:pt x="876" y="1"/>
                  </a:lnTo>
                  <a:lnTo>
                    <a:pt x="883" y="6"/>
                  </a:lnTo>
                  <a:lnTo>
                    <a:pt x="891" y="11"/>
                  </a:lnTo>
                  <a:lnTo>
                    <a:pt x="897" y="16"/>
                  </a:lnTo>
                  <a:lnTo>
                    <a:pt x="903" y="21"/>
                  </a:lnTo>
                  <a:lnTo>
                    <a:pt x="909" y="27"/>
                  </a:lnTo>
                  <a:lnTo>
                    <a:pt x="915" y="33"/>
                  </a:lnTo>
                  <a:lnTo>
                    <a:pt x="920" y="39"/>
                  </a:lnTo>
                  <a:lnTo>
                    <a:pt x="924" y="46"/>
                  </a:lnTo>
                  <a:lnTo>
                    <a:pt x="933" y="59"/>
                  </a:lnTo>
                  <a:lnTo>
                    <a:pt x="940" y="72"/>
                  </a:lnTo>
                  <a:lnTo>
                    <a:pt x="946" y="86"/>
                  </a:lnTo>
                  <a:lnTo>
                    <a:pt x="951" y="100"/>
                  </a:lnTo>
                  <a:lnTo>
                    <a:pt x="955" y="114"/>
                  </a:lnTo>
                  <a:lnTo>
                    <a:pt x="958" y="127"/>
                  </a:lnTo>
                  <a:lnTo>
                    <a:pt x="961" y="140"/>
                  </a:lnTo>
                  <a:lnTo>
                    <a:pt x="962" y="152"/>
                  </a:lnTo>
                  <a:lnTo>
                    <a:pt x="964" y="173"/>
                  </a:lnTo>
                  <a:lnTo>
                    <a:pt x="965" y="188"/>
                  </a:lnTo>
                  <a:lnTo>
                    <a:pt x="973" y="182"/>
                  </a:lnTo>
                  <a:lnTo>
                    <a:pt x="981" y="178"/>
                  </a:lnTo>
                  <a:lnTo>
                    <a:pt x="990" y="174"/>
                  </a:lnTo>
                  <a:lnTo>
                    <a:pt x="999" y="170"/>
                  </a:lnTo>
                  <a:lnTo>
                    <a:pt x="1008" y="168"/>
                  </a:lnTo>
                  <a:lnTo>
                    <a:pt x="1018" y="166"/>
                  </a:lnTo>
                  <a:lnTo>
                    <a:pt x="1027" y="165"/>
                  </a:lnTo>
                  <a:lnTo>
                    <a:pt x="1037" y="164"/>
                  </a:lnTo>
                  <a:lnTo>
                    <a:pt x="1046" y="164"/>
                  </a:lnTo>
                  <a:lnTo>
                    <a:pt x="1054" y="165"/>
                  </a:lnTo>
                  <a:lnTo>
                    <a:pt x="1058" y="166"/>
                  </a:lnTo>
                  <a:lnTo>
                    <a:pt x="1062" y="167"/>
                  </a:lnTo>
                  <a:lnTo>
                    <a:pt x="1070" y="169"/>
                  </a:lnTo>
                  <a:lnTo>
                    <a:pt x="1078" y="171"/>
                  </a:lnTo>
                  <a:lnTo>
                    <a:pt x="1085" y="174"/>
                  </a:lnTo>
                  <a:lnTo>
                    <a:pt x="1093" y="177"/>
                  </a:lnTo>
                  <a:lnTo>
                    <a:pt x="1100" y="181"/>
                  </a:lnTo>
                  <a:lnTo>
                    <a:pt x="1107" y="186"/>
                  </a:lnTo>
                  <a:lnTo>
                    <a:pt x="1113" y="190"/>
                  </a:lnTo>
                  <a:lnTo>
                    <a:pt x="1119" y="196"/>
                  </a:lnTo>
                  <a:lnTo>
                    <a:pt x="1125" y="201"/>
                  </a:lnTo>
                  <a:lnTo>
                    <a:pt x="1131" y="207"/>
                  </a:lnTo>
                  <a:lnTo>
                    <a:pt x="1136" y="214"/>
                  </a:lnTo>
                  <a:lnTo>
                    <a:pt x="1141" y="221"/>
                  </a:lnTo>
                  <a:lnTo>
                    <a:pt x="1145" y="228"/>
                  </a:lnTo>
                  <a:lnTo>
                    <a:pt x="1146" y="230"/>
                  </a:lnTo>
                  <a:lnTo>
                    <a:pt x="1146" y="232"/>
                  </a:lnTo>
                  <a:lnTo>
                    <a:pt x="1146" y="234"/>
                  </a:lnTo>
                  <a:lnTo>
                    <a:pt x="1146" y="237"/>
                  </a:lnTo>
                  <a:lnTo>
                    <a:pt x="1145" y="239"/>
                  </a:lnTo>
                  <a:lnTo>
                    <a:pt x="1143" y="240"/>
                  </a:lnTo>
                  <a:lnTo>
                    <a:pt x="1141" y="242"/>
                  </a:lnTo>
                  <a:lnTo>
                    <a:pt x="1139" y="243"/>
                  </a:lnTo>
                  <a:lnTo>
                    <a:pt x="1134" y="245"/>
                  </a:lnTo>
                  <a:lnTo>
                    <a:pt x="1128" y="248"/>
                  </a:lnTo>
                  <a:lnTo>
                    <a:pt x="1117" y="254"/>
                  </a:lnTo>
                  <a:lnTo>
                    <a:pt x="1106" y="260"/>
                  </a:lnTo>
                  <a:lnTo>
                    <a:pt x="1096" y="267"/>
                  </a:lnTo>
                  <a:lnTo>
                    <a:pt x="1087" y="275"/>
                  </a:lnTo>
                  <a:lnTo>
                    <a:pt x="1082" y="279"/>
                  </a:lnTo>
                  <a:lnTo>
                    <a:pt x="1078" y="283"/>
                  </a:lnTo>
                  <a:lnTo>
                    <a:pt x="1070" y="292"/>
                  </a:lnTo>
                  <a:lnTo>
                    <a:pt x="1062" y="301"/>
                  </a:lnTo>
                  <a:lnTo>
                    <a:pt x="1056" y="310"/>
                  </a:lnTo>
                  <a:lnTo>
                    <a:pt x="1053" y="315"/>
                  </a:lnTo>
                  <a:lnTo>
                    <a:pt x="1050" y="320"/>
                  </a:lnTo>
                  <a:lnTo>
                    <a:pt x="1044" y="331"/>
                  </a:lnTo>
                  <a:lnTo>
                    <a:pt x="1042" y="336"/>
                  </a:lnTo>
                  <a:lnTo>
                    <a:pt x="1040" y="341"/>
                  </a:lnTo>
                  <a:lnTo>
                    <a:pt x="1038" y="347"/>
                  </a:lnTo>
                  <a:lnTo>
                    <a:pt x="1036" y="352"/>
                  </a:lnTo>
                  <a:lnTo>
                    <a:pt x="1033" y="364"/>
                  </a:lnTo>
                  <a:lnTo>
                    <a:pt x="1031" y="375"/>
                  </a:lnTo>
                  <a:lnTo>
                    <a:pt x="1030" y="387"/>
                  </a:lnTo>
                  <a:lnTo>
                    <a:pt x="1029" y="396"/>
                  </a:lnTo>
                  <a:lnTo>
                    <a:pt x="1029" y="405"/>
                  </a:lnTo>
                  <a:lnTo>
                    <a:pt x="1030" y="413"/>
                  </a:lnTo>
                  <a:lnTo>
                    <a:pt x="1031" y="422"/>
                  </a:lnTo>
                  <a:lnTo>
                    <a:pt x="1032" y="430"/>
                  </a:lnTo>
                  <a:lnTo>
                    <a:pt x="1034" y="439"/>
                  </a:lnTo>
                  <a:lnTo>
                    <a:pt x="1037" y="447"/>
                  </a:lnTo>
                  <a:lnTo>
                    <a:pt x="1040" y="455"/>
                  </a:lnTo>
                  <a:lnTo>
                    <a:pt x="1043" y="464"/>
                  </a:lnTo>
                  <a:lnTo>
                    <a:pt x="1047" y="471"/>
                  </a:lnTo>
                  <a:lnTo>
                    <a:pt x="1051" y="479"/>
                  </a:lnTo>
                  <a:lnTo>
                    <a:pt x="1055" y="486"/>
                  </a:lnTo>
                  <a:lnTo>
                    <a:pt x="1060" y="493"/>
                  </a:lnTo>
                  <a:lnTo>
                    <a:pt x="1065" y="500"/>
                  </a:lnTo>
                  <a:lnTo>
                    <a:pt x="1070" y="507"/>
                  </a:lnTo>
                  <a:lnTo>
                    <a:pt x="1076" y="513"/>
                  </a:lnTo>
                  <a:lnTo>
                    <a:pt x="1082" y="519"/>
                  </a:lnTo>
                  <a:lnTo>
                    <a:pt x="1089" y="525"/>
                  </a:lnTo>
                  <a:lnTo>
                    <a:pt x="1103" y="536"/>
                  </a:lnTo>
                  <a:lnTo>
                    <a:pt x="1110" y="541"/>
                  </a:lnTo>
                  <a:lnTo>
                    <a:pt x="1118" y="546"/>
                  </a:lnTo>
                  <a:lnTo>
                    <a:pt x="1134" y="554"/>
                  </a:lnTo>
                  <a:lnTo>
                    <a:pt x="1142" y="558"/>
                  </a:lnTo>
                  <a:lnTo>
                    <a:pt x="1151" y="561"/>
                  </a:lnTo>
                  <a:lnTo>
                    <a:pt x="1159" y="564"/>
                  </a:lnTo>
                  <a:lnTo>
                    <a:pt x="1168" y="567"/>
                  </a:lnTo>
                  <a:lnTo>
                    <a:pt x="1178" y="569"/>
                  </a:lnTo>
                  <a:lnTo>
                    <a:pt x="1187" y="571"/>
                  </a:lnTo>
                  <a:lnTo>
                    <a:pt x="1196" y="572"/>
                  </a:lnTo>
                  <a:lnTo>
                    <a:pt x="1206" y="573"/>
                  </a:lnTo>
                  <a:lnTo>
                    <a:pt x="1221" y="573"/>
                  </a:lnTo>
                  <a:lnTo>
                    <a:pt x="1239" y="573"/>
                  </a:lnTo>
                  <a:lnTo>
                    <a:pt x="1248" y="572"/>
                  </a:lnTo>
                  <a:lnTo>
                    <a:pt x="1257" y="570"/>
                  </a:lnTo>
                  <a:lnTo>
                    <a:pt x="1274" y="566"/>
                  </a:lnTo>
                  <a:lnTo>
                    <a:pt x="1290" y="561"/>
                  </a:lnTo>
                  <a:lnTo>
                    <a:pt x="1306" y="555"/>
                  </a:lnTo>
                  <a:lnTo>
                    <a:pt x="1314" y="551"/>
                  </a:lnTo>
                  <a:lnTo>
                    <a:pt x="1321" y="547"/>
                  </a:lnTo>
                  <a:lnTo>
                    <a:pt x="1328" y="542"/>
                  </a:lnTo>
                  <a:lnTo>
                    <a:pt x="1335" y="538"/>
                  </a:lnTo>
                  <a:lnTo>
                    <a:pt x="1342" y="533"/>
                  </a:lnTo>
                  <a:lnTo>
                    <a:pt x="1348" y="527"/>
                  </a:lnTo>
                  <a:lnTo>
                    <a:pt x="1354" y="522"/>
                  </a:lnTo>
                  <a:lnTo>
                    <a:pt x="1360" y="516"/>
                  </a:lnTo>
                  <a:lnTo>
                    <a:pt x="1366" y="510"/>
                  </a:lnTo>
                  <a:lnTo>
                    <a:pt x="1371" y="504"/>
                  </a:lnTo>
                  <a:lnTo>
                    <a:pt x="1376" y="498"/>
                  </a:lnTo>
                  <a:lnTo>
                    <a:pt x="1381" y="491"/>
                  </a:lnTo>
                  <a:lnTo>
                    <a:pt x="1385" y="484"/>
                  </a:lnTo>
                  <a:lnTo>
                    <a:pt x="1389" y="477"/>
                  </a:lnTo>
                  <a:lnTo>
                    <a:pt x="1393" y="470"/>
                  </a:lnTo>
                  <a:lnTo>
                    <a:pt x="1396" y="462"/>
                  </a:lnTo>
                  <a:lnTo>
                    <a:pt x="1401" y="446"/>
                  </a:lnTo>
                  <a:lnTo>
                    <a:pt x="1403" y="438"/>
                  </a:lnTo>
                  <a:lnTo>
                    <a:pt x="1405" y="430"/>
                  </a:lnTo>
                  <a:lnTo>
                    <a:pt x="1406" y="422"/>
                  </a:lnTo>
                  <a:lnTo>
                    <a:pt x="1407" y="414"/>
                  </a:lnTo>
                  <a:lnTo>
                    <a:pt x="1407" y="404"/>
                  </a:lnTo>
                  <a:lnTo>
                    <a:pt x="1407" y="395"/>
                  </a:lnTo>
                  <a:lnTo>
                    <a:pt x="1406" y="386"/>
                  </a:lnTo>
                  <a:lnTo>
                    <a:pt x="1405" y="377"/>
                  </a:lnTo>
                  <a:lnTo>
                    <a:pt x="1404" y="368"/>
                  </a:lnTo>
                  <a:lnTo>
                    <a:pt x="1401" y="360"/>
                  </a:lnTo>
                  <a:lnTo>
                    <a:pt x="1399" y="351"/>
                  </a:lnTo>
                  <a:lnTo>
                    <a:pt x="1395" y="342"/>
                  </a:lnTo>
                  <a:lnTo>
                    <a:pt x="1392" y="334"/>
                  </a:lnTo>
                  <a:lnTo>
                    <a:pt x="1388" y="326"/>
                  </a:lnTo>
                  <a:lnTo>
                    <a:pt x="1383" y="318"/>
                  </a:lnTo>
                  <a:lnTo>
                    <a:pt x="1378" y="310"/>
                  </a:lnTo>
                  <a:lnTo>
                    <a:pt x="1372" y="303"/>
                  </a:lnTo>
                  <a:lnTo>
                    <a:pt x="1366" y="295"/>
                  </a:lnTo>
                  <a:lnTo>
                    <a:pt x="1360" y="288"/>
                  </a:lnTo>
                  <a:lnTo>
                    <a:pt x="1353" y="281"/>
                  </a:lnTo>
                  <a:lnTo>
                    <a:pt x="1352" y="280"/>
                  </a:lnTo>
                  <a:lnTo>
                    <a:pt x="1351" y="278"/>
                  </a:lnTo>
                  <a:lnTo>
                    <a:pt x="1350" y="276"/>
                  </a:lnTo>
                  <a:lnTo>
                    <a:pt x="1350" y="274"/>
                  </a:lnTo>
                  <a:lnTo>
                    <a:pt x="1350" y="270"/>
                  </a:lnTo>
                  <a:lnTo>
                    <a:pt x="1353" y="266"/>
                  </a:lnTo>
                  <a:lnTo>
                    <a:pt x="1357" y="262"/>
                  </a:lnTo>
                  <a:lnTo>
                    <a:pt x="1362" y="257"/>
                  </a:lnTo>
                  <a:lnTo>
                    <a:pt x="1367" y="253"/>
                  </a:lnTo>
                  <a:lnTo>
                    <a:pt x="1372" y="249"/>
                  </a:lnTo>
                  <a:lnTo>
                    <a:pt x="1383" y="242"/>
                  </a:lnTo>
                  <a:lnTo>
                    <a:pt x="1388" y="239"/>
                  </a:lnTo>
                  <a:lnTo>
                    <a:pt x="1394" y="236"/>
                  </a:lnTo>
                  <a:lnTo>
                    <a:pt x="1400" y="234"/>
                  </a:lnTo>
                  <a:lnTo>
                    <a:pt x="1406" y="232"/>
                  </a:lnTo>
                  <a:lnTo>
                    <a:pt x="1412" y="230"/>
                  </a:lnTo>
                  <a:lnTo>
                    <a:pt x="1418" y="228"/>
                  </a:lnTo>
                  <a:lnTo>
                    <a:pt x="1424" y="227"/>
                  </a:lnTo>
                  <a:lnTo>
                    <a:pt x="1431" y="226"/>
                  </a:lnTo>
                  <a:lnTo>
                    <a:pt x="1444" y="226"/>
                  </a:lnTo>
                  <a:lnTo>
                    <a:pt x="1452" y="226"/>
                  </a:lnTo>
                  <a:lnTo>
                    <a:pt x="1460" y="227"/>
                  </a:lnTo>
                  <a:lnTo>
                    <a:pt x="1468" y="228"/>
                  </a:lnTo>
                  <a:lnTo>
                    <a:pt x="1476" y="230"/>
                  </a:lnTo>
                  <a:lnTo>
                    <a:pt x="1483" y="232"/>
                  </a:lnTo>
                  <a:lnTo>
                    <a:pt x="1491" y="235"/>
                  </a:lnTo>
                  <a:lnTo>
                    <a:pt x="1498" y="238"/>
                  </a:lnTo>
                  <a:lnTo>
                    <a:pt x="1505" y="242"/>
                  </a:lnTo>
                  <a:lnTo>
                    <a:pt x="1512" y="246"/>
                  </a:lnTo>
                  <a:lnTo>
                    <a:pt x="1518" y="251"/>
                  </a:lnTo>
                  <a:lnTo>
                    <a:pt x="1525" y="256"/>
                  </a:lnTo>
                  <a:lnTo>
                    <a:pt x="1530" y="261"/>
                  </a:lnTo>
                  <a:lnTo>
                    <a:pt x="1536" y="267"/>
                  </a:lnTo>
                  <a:lnTo>
                    <a:pt x="1541" y="273"/>
                  </a:lnTo>
                  <a:lnTo>
                    <a:pt x="1546" y="280"/>
                  </a:lnTo>
                  <a:lnTo>
                    <a:pt x="1550" y="287"/>
                  </a:lnTo>
                  <a:lnTo>
                    <a:pt x="1560" y="275"/>
                  </a:lnTo>
                  <a:lnTo>
                    <a:pt x="1574" y="259"/>
                  </a:lnTo>
                  <a:lnTo>
                    <a:pt x="1582" y="250"/>
                  </a:lnTo>
                  <a:lnTo>
                    <a:pt x="1591" y="241"/>
                  </a:lnTo>
                  <a:lnTo>
                    <a:pt x="1602" y="232"/>
                  </a:lnTo>
                  <a:lnTo>
                    <a:pt x="1613" y="223"/>
                  </a:lnTo>
                  <a:lnTo>
                    <a:pt x="1625" y="214"/>
                  </a:lnTo>
                  <a:lnTo>
                    <a:pt x="1638" y="205"/>
                  </a:lnTo>
                  <a:lnTo>
                    <a:pt x="1651" y="198"/>
                  </a:lnTo>
                  <a:lnTo>
                    <a:pt x="1666" y="191"/>
                  </a:lnTo>
                  <a:lnTo>
                    <a:pt x="1673" y="188"/>
                  </a:lnTo>
                  <a:lnTo>
                    <a:pt x="1681" y="186"/>
                  </a:lnTo>
                  <a:lnTo>
                    <a:pt x="1688" y="183"/>
                  </a:lnTo>
                  <a:lnTo>
                    <a:pt x="1696" y="181"/>
                  </a:lnTo>
                  <a:lnTo>
                    <a:pt x="1704" y="180"/>
                  </a:lnTo>
                  <a:lnTo>
                    <a:pt x="1712" y="179"/>
                  </a:lnTo>
                  <a:lnTo>
                    <a:pt x="1720" y="178"/>
                  </a:lnTo>
                  <a:lnTo>
                    <a:pt x="1729" y="178"/>
                  </a:lnTo>
                  <a:close/>
                  <a:moveTo>
                    <a:pt x="1450" y="807"/>
                  </a:moveTo>
                  <a:lnTo>
                    <a:pt x="1453" y="807"/>
                  </a:lnTo>
                  <a:lnTo>
                    <a:pt x="1455" y="808"/>
                  </a:lnTo>
                  <a:lnTo>
                    <a:pt x="1457" y="810"/>
                  </a:lnTo>
                  <a:lnTo>
                    <a:pt x="1458" y="812"/>
                  </a:lnTo>
                  <a:lnTo>
                    <a:pt x="1459" y="814"/>
                  </a:lnTo>
                  <a:lnTo>
                    <a:pt x="1460" y="816"/>
                  </a:lnTo>
                  <a:lnTo>
                    <a:pt x="1460" y="819"/>
                  </a:lnTo>
                  <a:lnTo>
                    <a:pt x="1459" y="821"/>
                  </a:lnTo>
                  <a:lnTo>
                    <a:pt x="1439" y="885"/>
                  </a:lnTo>
                  <a:lnTo>
                    <a:pt x="1438" y="886"/>
                  </a:lnTo>
                  <a:lnTo>
                    <a:pt x="1437" y="888"/>
                  </a:lnTo>
                  <a:lnTo>
                    <a:pt x="1435" y="890"/>
                  </a:lnTo>
                  <a:lnTo>
                    <a:pt x="1432" y="892"/>
                  </a:lnTo>
                  <a:lnTo>
                    <a:pt x="1428" y="892"/>
                  </a:lnTo>
                  <a:lnTo>
                    <a:pt x="1374" y="887"/>
                  </a:lnTo>
                  <a:lnTo>
                    <a:pt x="1313" y="881"/>
                  </a:lnTo>
                  <a:lnTo>
                    <a:pt x="1245" y="876"/>
                  </a:lnTo>
                  <a:lnTo>
                    <a:pt x="1174" y="871"/>
                  </a:lnTo>
                  <a:lnTo>
                    <a:pt x="1099" y="867"/>
                  </a:lnTo>
                  <a:lnTo>
                    <a:pt x="1023" y="863"/>
                  </a:lnTo>
                  <a:lnTo>
                    <a:pt x="984" y="862"/>
                  </a:lnTo>
                  <a:lnTo>
                    <a:pt x="946" y="861"/>
                  </a:lnTo>
                  <a:lnTo>
                    <a:pt x="871" y="861"/>
                  </a:lnTo>
                  <a:lnTo>
                    <a:pt x="795" y="861"/>
                  </a:lnTo>
                  <a:lnTo>
                    <a:pt x="718" y="863"/>
                  </a:lnTo>
                  <a:lnTo>
                    <a:pt x="641" y="867"/>
                  </a:lnTo>
                  <a:lnTo>
                    <a:pt x="567" y="871"/>
                  </a:lnTo>
                  <a:lnTo>
                    <a:pt x="495" y="876"/>
                  </a:lnTo>
                  <a:lnTo>
                    <a:pt x="428" y="881"/>
                  </a:lnTo>
                  <a:lnTo>
                    <a:pt x="367" y="887"/>
                  </a:lnTo>
                  <a:lnTo>
                    <a:pt x="313" y="892"/>
                  </a:lnTo>
                  <a:lnTo>
                    <a:pt x="309" y="892"/>
                  </a:lnTo>
                  <a:lnTo>
                    <a:pt x="307" y="891"/>
                  </a:lnTo>
                  <a:lnTo>
                    <a:pt x="306" y="890"/>
                  </a:lnTo>
                  <a:lnTo>
                    <a:pt x="303" y="888"/>
                  </a:lnTo>
                  <a:lnTo>
                    <a:pt x="302" y="885"/>
                  </a:lnTo>
                  <a:lnTo>
                    <a:pt x="292" y="854"/>
                  </a:lnTo>
                  <a:lnTo>
                    <a:pt x="281" y="821"/>
                  </a:lnTo>
                  <a:lnTo>
                    <a:pt x="280" y="819"/>
                  </a:lnTo>
                  <a:lnTo>
                    <a:pt x="280" y="816"/>
                  </a:lnTo>
                  <a:lnTo>
                    <a:pt x="282" y="812"/>
                  </a:lnTo>
                  <a:lnTo>
                    <a:pt x="283" y="810"/>
                  </a:lnTo>
                  <a:lnTo>
                    <a:pt x="285" y="808"/>
                  </a:lnTo>
                  <a:lnTo>
                    <a:pt x="287" y="807"/>
                  </a:lnTo>
                  <a:lnTo>
                    <a:pt x="290" y="807"/>
                  </a:lnTo>
                  <a:lnTo>
                    <a:pt x="292" y="806"/>
                  </a:lnTo>
                  <a:lnTo>
                    <a:pt x="335" y="802"/>
                  </a:lnTo>
                  <a:lnTo>
                    <a:pt x="391" y="796"/>
                  </a:lnTo>
                  <a:lnTo>
                    <a:pt x="457" y="790"/>
                  </a:lnTo>
                  <a:lnTo>
                    <a:pt x="531" y="785"/>
                  </a:lnTo>
                  <a:lnTo>
                    <a:pt x="611" y="780"/>
                  </a:lnTo>
                  <a:lnTo>
                    <a:pt x="653" y="778"/>
                  </a:lnTo>
                  <a:lnTo>
                    <a:pt x="696" y="776"/>
                  </a:lnTo>
                  <a:lnTo>
                    <a:pt x="740" y="774"/>
                  </a:lnTo>
                  <a:lnTo>
                    <a:pt x="783" y="773"/>
                  </a:lnTo>
                  <a:lnTo>
                    <a:pt x="827" y="772"/>
                  </a:lnTo>
                  <a:lnTo>
                    <a:pt x="871" y="772"/>
                  </a:lnTo>
                  <a:lnTo>
                    <a:pt x="914" y="772"/>
                  </a:lnTo>
                  <a:lnTo>
                    <a:pt x="958" y="773"/>
                  </a:lnTo>
                  <a:lnTo>
                    <a:pt x="1001" y="774"/>
                  </a:lnTo>
                  <a:lnTo>
                    <a:pt x="1045" y="776"/>
                  </a:lnTo>
                  <a:lnTo>
                    <a:pt x="1129" y="780"/>
                  </a:lnTo>
                  <a:lnTo>
                    <a:pt x="1209" y="785"/>
                  </a:lnTo>
                  <a:lnTo>
                    <a:pt x="1283" y="790"/>
                  </a:lnTo>
                  <a:lnTo>
                    <a:pt x="1349" y="796"/>
                  </a:lnTo>
                  <a:lnTo>
                    <a:pt x="1405" y="802"/>
                  </a:lnTo>
                  <a:lnTo>
                    <a:pt x="1449" y="806"/>
                  </a:lnTo>
                  <a:lnTo>
                    <a:pt x="1450" y="8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auto">
            <a:xfrm>
              <a:off x="4287838" y="2951163"/>
              <a:ext cx="6440488" cy="1217612"/>
            </a:xfrm>
            <a:custGeom>
              <a:avLst/>
              <a:gdLst>
                <a:gd name="T0" fmla="*/ 3533 w 4057"/>
                <a:gd name="T1" fmla="*/ 11 h 767"/>
                <a:gd name="T2" fmla="*/ 3620 w 4057"/>
                <a:gd name="T3" fmla="*/ 37 h 767"/>
                <a:gd name="T4" fmla="*/ 4033 w 4057"/>
                <a:gd name="T5" fmla="*/ 15 h 767"/>
                <a:gd name="T6" fmla="*/ 4055 w 4057"/>
                <a:gd name="T7" fmla="*/ 724 h 767"/>
                <a:gd name="T8" fmla="*/ 4042 w 4057"/>
                <a:gd name="T9" fmla="*/ 755 h 767"/>
                <a:gd name="T10" fmla="*/ 3620 w 4057"/>
                <a:gd name="T11" fmla="*/ 736 h 767"/>
                <a:gd name="T12" fmla="*/ 3528 w 4057"/>
                <a:gd name="T13" fmla="*/ 756 h 767"/>
                <a:gd name="T14" fmla="*/ 330 w 4057"/>
                <a:gd name="T15" fmla="*/ 10 h 767"/>
                <a:gd name="T16" fmla="*/ 367 w 4057"/>
                <a:gd name="T17" fmla="*/ 4 h 767"/>
                <a:gd name="T18" fmla="*/ 693 w 4057"/>
                <a:gd name="T19" fmla="*/ 754 h 767"/>
                <a:gd name="T20" fmla="*/ 593 w 4057"/>
                <a:gd name="T21" fmla="*/ 744 h 767"/>
                <a:gd name="T22" fmla="*/ 21 w 4057"/>
                <a:gd name="T23" fmla="*/ 757 h 767"/>
                <a:gd name="T24" fmla="*/ 2 w 4057"/>
                <a:gd name="T25" fmla="*/ 729 h 767"/>
                <a:gd name="T26" fmla="*/ 827 w 4057"/>
                <a:gd name="T27" fmla="*/ 13 h 767"/>
                <a:gd name="T28" fmla="*/ 1180 w 4057"/>
                <a:gd name="T29" fmla="*/ 34 h 767"/>
                <a:gd name="T30" fmla="*/ 1281 w 4057"/>
                <a:gd name="T31" fmla="*/ 125 h 767"/>
                <a:gd name="T32" fmla="*/ 1315 w 4057"/>
                <a:gd name="T33" fmla="*/ 258 h 767"/>
                <a:gd name="T34" fmla="*/ 1268 w 4057"/>
                <a:gd name="T35" fmla="*/ 390 h 767"/>
                <a:gd name="T36" fmla="*/ 1159 w 4057"/>
                <a:gd name="T37" fmla="*/ 472 h 767"/>
                <a:gd name="T38" fmla="*/ 920 w 4057"/>
                <a:gd name="T39" fmla="*/ 747 h 767"/>
                <a:gd name="T40" fmla="*/ 816 w 4057"/>
                <a:gd name="T41" fmla="*/ 744 h 767"/>
                <a:gd name="T42" fmla="*/ 1135 w 4057"/>
                <a:gd name="T43" fmla="*/ 366 h 767"/>
                <a:gd name="T44" fmla="*/ 1203 w 4057"/>
                <a:gd name="T45" fmla="*/ 273 h 767"/>
                <a:gd name="T46" fmla="*/ 1189 w 4057"/>
                <a:gd name="T47" fmla="*/ 183 h 767"/>
                <a:gd name="T48" fmla="*/ 1098 w 4057"/>
                <a:gd name="T49" fmla="*/ 120 h 767"/>
                <a:gd name="T50" fmla="*/ 1899 w 4057"/>
                <a:gd name="T51" fmla="*/ 15 h 767"/>
                <a:gd name="T52" fmla="*/ 2058 w 4057"/>
                <a:gd name="T53" fmla="*/ 106 h 767"/>
                <a:gd name="T54" fmla="*/ 2153 w 4057"/>
                <a:gd name="T55" fmla="*/ 252 h 767"/>
                <a:gd name="T56" fmla="*/ 2169 w 4057"/>
                <a:gd name="T57" fmla="*/ 463 h 767"/>
                <a:gd name="T58" fmla="*/ 2089 w 4057"/>
                <a:gd name="T59" fmla="*/ 629 h 767"/>
                <a:gd name="T60" fmla="*/ 1960 w 4057"/>
                <a:gd name="T61" fmla="*/ 730 h 767"/>
                <a:gd name="T62" fmla="*/ 1773 w 4057"/>
                <a:gd name="T63" fmla="*/ 767 h 767"/>
                <a:gd name="T64" fmla="*/ 1578 w 4057"/>
                <a:gd name="T65" fmla="*/ 702 h 767"/>
                <a:gd name="T66" fmla="*/ 1466 w 4057"/>
                <a:gd name="T67" fmla="*/ 584 h 767"/>
                <a:gd name="T68" fmla="*/ 1411 w 4057"/>
                <a:gd name="T69" fmla="*/ 405 h 767"/>
                <a:gd name="T70" fmla="*/ 1448 w 4057"/>
                <a:gd name="T71" fmla="*/ 218 h 767"/>
                <a:gd name="T72" fmla="*/ 1563 w 4057"/>
                <a:gd name="T73" fmla="*/ 76 h 767"/>
                <a:gd name="T74" fmla="*/ 1725 w 4057"/>
                <a:gd name="T75" fmla="*/ 6 h 767"/>
                <a:gd name="T76" fmla="*/ 1888 w 4057"/>
                <a:gd name="T77" fmla="*/ 644 h 767"/>
                <a:gd name="T78" fmla="*/ 2007 w 4057"/>
                <a:gd name="T79" fmla="*/ 561 h 767"/>
                <a:gd name="T80" fmla="*/ 2069 w 4057"/>
                <a:gd name="T81" fmla="*/ 413 h 767"/>
                <a:gd name="T82" fmla="*/ 2037 w 4057"/>
                <a:gd name="T83" fmla="*/ 253 h 767"/>
                <a:gd name="T84" fmla="*/ 1925 w 4057"/>
                <a:gd name="T85" fmla="*/ 141 h 767"/>
                <a:gd name="T86" fmla="*/ 1765 w 4057"/>
                <a:gd name="T87" fmla="*/ 108 h 767"/>
                <a:gd name="T88" fmla="*/ 1618 w 4057"/>
                <a:gd name="T89" fmla="*/ 171 h 767"/>
                <a:gd name="T90" fmla="*/ 1530 w 4057"/>
                <a:gd name="T91" fmla="*/ 304 h 767"/>
                <a:gd name="T92" fmla="*/ 1530 w 4057"/>
                <a:gd name="T93" fmla="*/ 467 h 767"/>
                <a:gd name="T94" fmla="*/ 1618 w 4057"/>
                <a:gd name="T95" fmla="*/ 598 h 767"/>
                <a:gd name="T96" fmla="*/ 1765 w 4057"/>
                <a:gd name="T97" fmla="*/ 659 h 767"/>
                <a:gd name="T98" fmla="*/ 2214 w 4057"/>
                <a:gd name="T99" fmla="*/ 91 h 767"/>
                <a:gd name="T100" fmla="*/ 2736 w 4057"/>
                <a:gd name="T101" fmla="*/ 13 h 767"/>
                <a:gd name="T102" fmla="*/ 2739 w 4057"/>
                <a:gd name="T103" fmla="*/ 107 h 767"/>
                <a:gd name="T104" fmla="*/ 2520 w 4057"/>
                <a:gd name="T105" fmla="*/ 756 h 767"/>
                <a:gd name="T106" fmla="*/ 2885 w 4057"/>
                <a:gd name="T107" fmla="*/ 31 h 767"/>
                <a:gd name="T108" fmla="*/ 3343 w 4057"/>
                <a:gd name="T109" fmla="*/ 15 h 767"/>
                <a:gd name="T110" fmla="*/ 3340 w 4057"/>
                <a:gd name="T111" fmla="*/ 109 h 767"/>
                <a:gd name="T112" fmla="*/ 3298 w 4057"/>
                <a:gd name="T113" fmla="*/ 345 h 767"/>
                <a:gd name="T114" fmla="*/ 2994 w 4057"/>
                <a:gd name="T115" fmla="*/ 658 h 767"/>
                <a:gd name="T116" fmla="*/ 3350 w 4057"/>
                <a:gd name="T117" fmla="*/ 744 h 767"/>
                <a:gd name="T118" fmla="*/ 2888 w 4057"/>
                <a:gd name="T119" fmla="*/ 747 h 7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057" h="767">
                  <a:moveTo>
                    <a:pt x="3508" y="37"/>
                  </a:moveTo>
                  <a:lnTo>
                    <a:pt x="3508" y="31"/>
                  </a:lnTo>
                  <a:lnTo>
                    <a:pt x="3509" y="29"/>
                  </a:lnTo>
                  <a:lnTo>
                    <a:pt x="3509" y="27"/>
                  </a:lnTo>
                  <a:lnTo>
                    <a:pt x="3510" y="25"/>
                  </a:lnTo>
                  <a:lnTo>
                    <a:pt x="3512" y="22"/>
                  </a:lnTo>
                  <a:lnTo>
                    <a:pt x="3515" y="19"/>
                  </a:lnTo>
                  <a:lnTo>
                    <a:pt x="3518" y="15"/>
                  </a:lnTo>
                  <a:lnTo>
                    <a:pt x="3523" y="13"/>
                  </a:lnTo>
                  <a:lnTo>
                    <a:pt x="3525" y="12"/>
                  </a:lnTo>
                  <a:lnTo>
                    <a:pt x="3528" y="12"/>
                  </a:lnTo>
                  <a:lnTo>
                    <a:pt x="3533" y="11"/>
                  </a:lnTo>
                  <a:lnTo>
                    <a:pt x="3595" y="11"/>
                  </a:lnTo>
                  <a:lnTo>
                    <a:pt x="3600" y="12"/>
                  </a:lnTo>
                  <a:lnTo>
                    <a:pt x="3602" y="12"/>
                  </a:lnTo>
                  <a:lnTo>
                    <a:pt x="3605" y="13"/>
                  </a:lnTo>
                  <a:lnTo>
                    <a:pt x="3609" y="15"/>
                  </a:lnTo>
                  <a:lnTo>
                    <a:pt x="3611" y="17"/>
                  </a:lnTo>
                  <a:lnTo>
                    <a:pt x="3613" y="19"/>
                  </a:lnTo>
                  <a:lnTo>
                    <a:pt x="3616" y="22"/>
                  </a:lnTo>
                  <a:lnTo>
                    <a:pt x="3618" y="27"/>
                  </a:lnTo>
                  <a:lnTo>
                    <a:pt x="3619" y="29"/>
                  </a:lnTo>
                  <a:lnTo>
                    <a:pt x="3620" y="31"/>
                  </a:lnTo>
                  <a:lnTo>
                    <a:pt x="3620" y="37"/>
                  </a:lnTo>
                  <a:lnTo>
                    <a:pt x="3620" y="332"/>
                  </a:lnTo>
                  <a:lnTo>
                    <a:pt x="3920" y="22"/>
                  </a:lnTo>
                  <a:lnTo>
                    <a:pt x="3924" y="18"/>
                  </a:lnTo>
                  <a:lnTo>
                    <a:pt x="3929" y="14"/>
                  </a:lnTo>
                  <a:lnTo>
                    <a:pt x="3934" y="12"/>
                  </a:lnTo>
                  <a:lnTo>
                    <a:pt x="3937" y="11"/>
                  </a:lnTo>
                  <a:lnTo>
                    <a:pt x="3940" y="11"/>
                  </a:lnTo>
                  <a:lnTo>
                    <a:pt x="4020" y="11"/>
                  </a:lnTo>
                  <a:lnTo>
                    <a:pt x="4024" y="11"/>
                  </a:lnTo>
                  <a:lnTo>
                    <a:pt x="4027" y="12"/>
                  </a:lnTo>
                  <a:lnTo>
                    <a:pt x="4030" y="13"/>
                  </a:lnTo>
                  <a:lnTo>
                    <a:pt x="4033" y="15"/>
                  </a:lnTo>
                  <a:lnTo>
                    <a:pt x="4035" y="17"/>
                  </a:lnTo>
                  <a:lnTo>
                    <a:pt x="4037" y="19"/>
                  </a:lnTo>
                  <a:lnTo>
                    <a:pt x="4040" y="24"/>
                  </a:lnTo>
                  <a:lnTo>
                    <a:pt x="4042" y="30"/>
                  </a:lnTo>
                  <a:lnTo>
                    <a:pt x="4042" y="33"/>
                  </a:lnTo>
                  <a:lnTo>
                    <a:pt x="4042" y="37"/>
                  </a:lnTo>
                  <a:lnTo>
                    <a:pt x="4039" y="43"/>
                  </a:lnTo>
                  <a:lnTo>
                    <a:pt x="4038" y="46"/>
                  </a:lnTo>
                  <a:lnTo>
                    <a:pt x="4035" y="49"/>
                  </a:lnTo>
                  <a:lnTo>
                    <a:pt x="3728" y="363"/>
                  </a:lnTo>
                  <a:lnTo>
                    <a:pt x="4053" y="721"/>
                  </a:lnTo>
                  <a:lnTo>
                    <a:pt x="4055" y="724"/>
                  </a:lnTo>
                  <a:lnTo>
                    <a:pt x="4056" y="726"/>
                  </a:lnTo>
                  <a:lnTo>
                    <a:pt x="4057" y="731"/>
                  </a:lnTo>
                  <a:lnTo>
                    <a:pt x="4057" y="734"/>
                  </a:lnTo>
                  <a:lnTo>
                    <a:pt x="4057" y="737"/>
                  </a:lnTo>
                  <a:lnTo>
                    <a:pt x="4056" y="740"/>
                  </a:lnTo>
                  <a:lnTo>
                    <a:pt x="4055" y="743"/>
                  </a:lnTo>
                  <a:lnTo>
                    <a:pt x="4054" y="746"/>
                  </a:lnTo>
                  <a:lnTo>
                    <a:pt x="4052" y="748"/>
                  </a:lnTo>
                  <a:lnTo>
                    <a:pt x="4050" y="750"/>
                  </a:lnTo>
                  <a:lnTo>
                    <a:pt x="4048" y="752"/>
                  </a:lnTo>
                  <a:lnTo>
                    <a:pt x="4045" y="754"/>
                  </a:lnTo>
                  <a:lnTo>
                    <a:pt x="4042" y="755"/>
                  </a:lnTo>
                  <a:lnTo>
                    <a:pt x="4038" y="756"/>
                  </a:lnTo>
                  <a:lnTo>
                    <a:pt x="4034" y="756"/>
                  </a:lnTo>
                  <a:lnTo>
                    <a:pt x="3949" y="756"/>
                  </a:lnTo>
                  <a:lnTo>
                    <a:pt x="3945" y="756"/>
                  </a:lnTo>
                  <a:lnTo>
                    <a:pt x="3942" y="756"/>
                  </a:lnTo>
                  <a:lnTo>
                    <a:pt x="3936" y="754"/>
                  </a:lnTo>
                  <a:lnTo>
                    <a:pt x="3934" y="753"/>
                  </a:lnTo>
                  <a:lnTo>
                    <a:pt x="3932" y="752"/>
                  </a:lnTo>
                  <a:lnTo>
                    <a:pt x="3930" y="749"/>
                  </a:lnTo>
                  <a:lnTo>
                    <a:pt x="3620" y="400"/>
                  </a:lnTo>
                  <a:lnTo>
                    <a:pt x="3620" y="731"/>
                  </a:lnTo>
                  <a:lnTo>
                    <a:pt x="3620" y="736"/>
                  </a:lnTo>
                  <a:lnTo>
                    <a:pt x="3619" y="738"/>
                  </a:lnTo>
                  <a:lnTo>
                    <a:pt x="3618" y="741"/>
                  </a:lnTo>
                  <a:lnTo>
                    <a:pt x="3616" y="745"/>
                  </a:lnTo>
                  <a:lnTo>
                    <a:pt x="3614" y="747"/>
                  </a:lnTo>
                  <a:lnTo>
                    <a:pt x="3613" y="749"/>
                  </a:lnTo>
                  <a:lnTo>
                    <a:pt x="3609" y="752"/>
                  </a:lnTo>
                  <a:lnTo>
                    <a:pt x="3605" y="754"/>
                  </a:lnTo>
                  <a:lnTo>
                    <a:pt x="3602" y="755"/>
                  </a:lnTo>
                  <a:lnTo>
                    <a:pt x="3600" y="756"/>
                  </a:lnTo>
                  <a:lnTo>
                    <a:pt x="3595" y="756"/>
                  </a:lnTo>
                  <a:lnTo>
                    <a:pt x="3533" y="756"/>
                  </a:lnTo>
                  <a:lnTo>
                    <a:pt x="3528" y="756"/>
                  </a:lnTo>
                  <a:lnTo>
                    <a:pt x="3523" y="754"/>
                  </a:lnTo>
                  <a:lnTo>
                    <a:pt x="3518" y="752"/>
                  </a:lnTo>
                  <a:lnTo>
                    <a:pt x="3515" y="749"/>
                  </a:lnTo>
                  <a:lnTo>
                    <a:pt x="3512" y="745"/>
                  </a:lnTo>
                  <a:lnTo>
                    <a:pt x="3510" y="743"/>
                  </a:lnTo>
                  <a:lnTo>
                    <a:pt x="3509" y="741"/>
                  </a:lnTo>
                  <a:lnTo>
                    <a:pt x="3508" y="736"/>
                  </a:lnTo>
                  <a:lnTo>
                    <a:pt x="3508" y="731"/>
                  </a:lnTo>
                  <a:lnTo>
                    <a:pt x="3508" y="37"/>
                  </a:lnTo>
                  <a:close/>
                  <a:moveTo>
                    <a:pt x="2" y="729"/>
                  </a:moveTo>
                  <a:lnTo>
                    <a:pt x="329" y="12"/>
                  </a:lnTo>
                  <a:lnTo>
                    <a:pt x="330" y="10"/>
                  </a:lnTo>
                  <a:lnTo>
                    <a:pt x="332" y="8"/>
                  </a:lnTo>
                  <a:lnTo>
                    <a:pt x="335" y="6"/>
                  </a:lnTo>
                  <a:lnTo>
                    <a:pt x="337" y="4"/>
                  </a:lnTo>
                  <a:lnTo>
                    <a:pt x="340" y="2"/>
                  </a:lnTo>
                  <a:lnTo>
                    <a:pt x="342" y="1"/>
                  </a:lnTo>
                  <a:lnTo>
                    <a:pt x="345" y="1"/>
                  </a:lnTo>
                  <a:lnTo>
                    <a:pt x="347" y="0"/>
                  </a:lnTo>
                  <a:lnTo>
                    <a:pt x="358" y="0"/>
                  </a:lnTo>
                  <a:lnTo>
                    <a:pt x="360" y="1"/>
                  </a:lnTo>
                  <a:lnTo>
                    <a:pt x="362" y="1"/>
                  </a:lnTo>
                  <a:lnTo>
                    <a:pt x="365" y="2"/>
                  </a:lnTo>
                  <a:lnTo>
                    <a:pt x="367" y="4"/>
                  </a:lnTo>
                  <a:lnTo>
                    <a:pt x="370" y="6"/>
                  </a:lnTo>
                  <a:lnTo>
                    <a:pt x="372" y="8"/>
                  </a:lnTo>
                  <a:lnTo>
                    <a:pt x="376" y="12"/>
                  </a:lnTo>
                  <a:lnTo>
                    <a:pt x="701" y="729"/>
                  </a:lnTo>
                  <a:lnTo>
                    <a:pt x="703" y="734"/>
                  </a:lnTo>
                  <a:lnTo>
                    <a:pt x="703" y="739"/>
                  </a:lnTo>
                  <a:lnTo>
                    <a:pt x="702" y="744"/>
                  </a:lnTo>
                  <a:lnTo>
                    <a:pt x="702" y="746"/>
                  </a:lnTo>
                  <a:lnTo>
                    <a:pt x="700" y="748"/>
                  </a:lnTo>
                  <a:lnTo>
                    <a:pt x="699" y="750"/>
                  </a:lnTo>
                  <a:lnTo>
                    <a:pt x="697" y="751"/>
                  </a:lnTo>
                  <a:lnTo>
                    <a:pt x="693" y="754"/>
                  </a:lnTo>
                  <a:lnTo>
                    <a:pt x="689" y="756"/>
                  </a:lnTo>
                  <a:lnTo>
                    <a:pt x="686" y="756"/>
                  </a:lnTo>
                  <a:lnTo>
                    <a:pt x="683" y="757"/>
                  </a:lnTo>
                  <a:lnTo>
                    <a:pt x="616" y="757"/>
                  </a:lnTo>
                  <a:lnTo>
                    <a:pt x="611" y="756"/>
                  </a:lnTo>
                  <a:lnTo>
                    <a:pt x="607" y="755"/>
                  </a:lnTo>
                  <a:lnTo>
                    <a:pt x="606" y="755"/>
                  </a:lnTo>
                  <a:lnTo>
                    <a:pt x="604" y="754"/>
                  </a:lnTo>
                  <a:lnTo>
                    <a:pt x="601" y="752"/>
                  </a:lnTo>
                  <a:lnTo>
                    <a:pt x="598" y="750"/>
                  </a:lnTo>
                  <a:lnTo>
                    <a:pt x="595" y="747"/>
                  </a:lnTo>
                  <a:lnTo>
                    <a:pt x="593" y="744"/>
                  </a:lnTo>
                  <a:lnTo>
                    <a:pt x="592" y="741"/>
                  </a:lnTo>
                  <a:lnTo>
                    <a:pt x="526" y="595"/>
                  </a:lnTo>
                  <a:lnTo>
                    <a:pt x="177" y="595"/>
                  </a:lnTo>
                  <a:lnTo>
                    <a:pt x="144" y="668"/>
                  </a:lnTo>
                  <a:lnTo>
                    <a:pt x="112" y="741"/>
                  </a:lnTo>
                  <a:lnTo>
                    <a:pt x="109" y="746"/>
                  </a:lnTo>
                  <a:lnTo>
                    <a:pt x="103" y="751"/>
                  </a:lnTo>
                  <a:lnTo>
                    <a:pt x="100" y="753"/>
                  </a:lnTo>
                  <a:lnTo>
                    <a:pt x="96" y="755"/>
                  </a:lnTo>
                  <a:lnTo>
                    <a:pt x="92" y="756"/>
                  </a:lnTo>
                  <a:lnTo>
                    <a:pt x="88" y="757"/>
                  </a:lnTo>
                  <a:lnTo>
                    <a:pt x="21" y="757"/>
                  </a:lnTo>
                  <a:lnTo>
                    <a:pt x="15" y="756"/>
                  </a:lnTo>
                  <a:lnTo>
                    <a:pt x="10" y="754"/>
                  </a:lnTo>
                  <a:lnTo>
                    <a:pt x="6" y="751"/>
                  </a:lnTo>
                  <a:lnTo>
                    <a:pt x="4" y="750"/>
                  </a:lnTo>
                  <a:lnTo>
                    <a:pt x="3" y="748"/>
                  </a:lnTo>
                  <a:lnTo>
                    <a:pt x="1" y="744"/>
                  </a:lnTo>
                  <a:lnTo>
                    <a:pt x="1" y="741"/>
                  </a:lnTo>
                  <a:lnTo>
                    <a:pt x="0" y="739"/>
                  </a:lnTo>
                  <a:lnTo>
                    <a:pt x="0" y="737"/>
                  </a:lnTo>
                  <a:lnTo>
                    <a:pt x="1" y="734"/>
                  </a:lnTo>
                  <a:lnTo>
                    <a:pt x="1" y="731"/>
                  </a:lnTo>
                  <a:lnTo>
                    <a:pt x="2" y="729"/>
                  </a:lnTo>
                  <a:close/>
                  <a:moveTo>
                    <a:pt x="485" y="503"/>
                  </a:moveTo>
                  <a:lnTo>
                    <a:pt x="353" y="211"/>
                  </a:lnTo>
                  <a:lnTo>
                    <a:pt x="348" y="211"/>
                  </a:lnTo>
                  <a:lnTo>
                    <a:pt x="218" y="503"/>
                  </a:lnTo>
                  <a:lnTo>
                    <a:pt x="485" y="503"/>
                  </a:lnTo>
                  <a:close/>
                  <a:moveTo>
                    <a:pt x="814" y="31"/>
                  </a:moveTo>
                  <a:lnTo>
                    <a:pt x="815" y="27"/>
                  </a:lnTo>
                  <a:lnTo>
                    <a:pt x="816" y="24"/>
                  </a:lnTo>
                  <a:lnTo>
                    <a:pt x="818" y="20"/>
                  </a:lnTo>
                  <a:lnTo>
                    <a:pt x="820" y="17"/>
                  </a:lnTo>
                  <a:lnTo>
                    <a:pt x="823" y="15"/>
                  </a:lnTo>
                  <a:lnTo>
                    <a:pt x="827" y="13"/>
                  </a:lnTo>
                  <a:lnTo>
                    <a:pt x="830" y="11"/>
                  </a:lnTo>
                  <a:lnTo>
                    <a:pt x="835" y="11"/>
                  </a:lnTo>
                  <a:lnTo>
                    <a:pt x="1077" y="11"/>
                  </a:lnTo>
                  <a:lnTo>
                    <a:pt x="1089" y="11"/>
                  </a:lnTo>
                  <a:lnTo>
                    <a:pt x="1101" y="12"/>
                  </a:lnTo>
                  <a:lnTo>
                    <a:pt x="1113" y="14"/>
                  </a:lnTo>
                  <a:lnTo>
                    <a:pt x="1125" y="16"/>
                  </a:lnTo>
                  <a:lnTo>
                    <a:pt x="1136" y="19"/>
                  </a:lnTo>
                  <a:lnTo>
                    <a:pt x="1148" y="22"/>
                  </a:lnTo>
                  <a:lnTo>
                    <a:pt x="1159" y="25"/>
                  </a:lnTo>
                  <a:lnTo>
                    <a:pt x="1170" y="30"/>
                  </a:lnTo>
                  <a:lnTo>
                    <a:pt x="1180" y="34"/>
                  </a:lnTo>
                  <a:lnTo>
                    <a:pt x="1190" y="40"/>
                  </a:lnTo>
                  <a:lnTo>
                    <a:pt x="1200" y="45"/>
                  </a:lnTo>
                  <a:lnTo>
                    <a:pt x="1210" y="51"/>
                  </a:lnTo>
                  <a:lnTo>
                    <a:pt x="1219" y="58"/>
                  </a:lnTo>
                  <a:lnTo>
                    <a:pt x="1228" y="65"/>
                  </a:lnTo>
                  <a:lnTo>
                    <a:pt x="1237" y="72"/>
                  </a:lnTo>
                  <a:lnTo>
                    <a:pt x="1245" y="80"/>
                  </a:lnTo>
                  <a:lnTo>
                    <a:pt x="1253" y="88"/>
                  </a:lnTo>
                  <a:lnTo>
                    <a:pt x="1261" y="97"/>
                  </a:lnTo>
                  <a:lnTo>
                    <a:pt x="1268" y="106"/>
                  </a:lnTo>
                  <a:lnTo>
                    <a:pt x="1275" y="115"/>
                  </a:lnTo>
                  <a:lnTo>
                    <a:pt x="1281" y="125"/>
                  </a:lnTo>
                  <a:lnTo>
                    <a:pt x="1286" y="135"/>
                  </a:lnTo>
                  <a:lnTo>
                    <a:pt x="1292" y="145"/>
                  </a:lnTo>
                  <a:lnTo>
                    <a:pt x="1297" y="155"/>
                  </a:lnTo>
                  <a:lnTo>
                    <a:pt x="1301" y="166"/>
                  </a:lnTo>
                  <a:lnTo>
                    <a:pt x="1305" y="177"/>
                  </a:lnTo>
                  <a:lnTo>
                    <a:pt x="1308" y="188"/>
                  </a:lnTo>
                  <a:lnTo>
                    <a:pt x="1311" y="199"/>
                  </a:lnTo>
                  <a:lnTo>
                    <a:pt x="1313" y="211"/>
                  </a:lnTo>
                  <a:lnTo>
                    <a:pt x="1314" y="222"/>
                  </a:lnTo>
                  <a:lnTo>
                    <a:pt x="1315" y="234"/>
                  </a:lnTo>
                  <a:lnTo>
                    <a:pt x="1315" y="246"/>
                  </a:lnTo>
                  <a:lnTo>
                    <a:pt x="1315" y="258"/>
                  </a:lnTo>
                  <a:lnTo>
                    <a:pt x="1314" y="270"/>
                  </a:lnTo>
                  <a:lnTo>
                    <a:pt x="1313" y="282"/>
                  </a:lnTo>
                  <a:lnTo>
                    <a:pt x="1311" y="294"/>
                  </a:lnTo>
                  <a:lnTo>
                    <a:pt x="1308" y="307"/>
                  </a:lnTo>
                  <a:lnTo>
                    <a:pt x="1305" y="318"/>
                  </a:lnTo>
                  <a:lnTo>
                    <a:pt x="1301" y="329"/>
                  </a:lnTo>
                  <a:lnTo>
                    <a:pt x="1297" y="340"/>
                  </a:lnTo>
                  <a:lnTo>
                    <a:pt x="1292" y="351"/>
                  </a:lnTo>
                  <a:lnTo>
                    <a:pt x="1287" y="361"/>
                  </a:lnTo>
                  <a:lnTo>
                    <a:pt x="1281" y="371"/>
                  </a:lnTo>
                  <a:lnTo>
                    <a:pt x="1275" y="381"/>
                  </a:lnTo>
                  <a:lnTo>
                    <a:pt x="1268" y="390"/>
                  </a:lnTo>
                  <a:lnTo>
                    <a:pt x="1261" y="399"/>
                  </a:lnTo>
                  <a:lnTo>
                    <a:pt x="1253" y="408"/>
                  </a:lnTo>
                  <a:lnTo>
                    <a:pt x="1245" y="416"/>
                  </a:lnTo>
                  <a:lnTo>
                    <a:pt x="1237" y="424"/>
                  </a:lnTo>
                  <a:lnTo>
                    <a:pt x="1229" y="432"/>
                  </a:lnTo>
                  <a:lnTo>
                    <a:pt x="1220" y="439"/>
                  </a:lnTo>
                  <a:lnTo>
                    <a:pt x="1210" y="445"/>
                  </a:lnTo>
                  <a:lnTo>
                    <a:pt x="1201" y="452"/>
                  </a:lnTo>
                  <a:lnTo>
                    <a:pt x="1191" y="457"/>
                  </a:lnTo>
                  <a:lnTo>
                    <a:pt x="1180" y="463"/>
                  </a:lnTo>
                  <a:lnTo>
                    <a:pt x="1170" y="468"/>
                  </a:lnTo>
                  <a:lnTo>
                    <a:pt x="1159" y="472"/>
                  </a:lnTo>
                  <a:lnTo>
                    <a:pt x="1148" y="476"/>
                  </a:lnTo>
                  <a:lnTo>
                    <a:pt x="1137" y="479"/>
                  </a:lnTo>
                  <a:lnTo>
                    <a:pt x="1126" y="481"/>
                  </a:lnTo>
                  <a:lnTo>
                    <a:pt x="1114" y="484"/>
                  </a:lnTo>
                  <a:lnTo>
                    <a:pt x="1102" y="485"/>
                  </a:lnTo>
                  <a:lnTo>
                    <a:pt x="1090" y="486"/>
                  </a:lnTo>
                  <a:lnTo>
                    <a:pt x="1078" y="486"/>
                  </a:lnTo>
                  <a:lnTo>
                    <a:pt x="924" y="486"/>
                  </a:lnTo>
                  <a:lnTo>
                    <a:pt x="924" y="736"/>
                  </a:lnTo>
                  <a:lnTo>
                    <a:pt x="924" y="740"/>
                  </a:lnTo>
                  <a:lnTo>
                    <a:pt x="922" y="744"/>
                  </a:lnTo>
                  <a:lnTo>
                    <a:pt x="920" y="747"/>
                  </a:lnTo>
                  <a:lnTo>
                    <a:pt x="918" y="750"/>
                  </a:lnTo>
                  <a:lnTo>
                    <a:pt x="915" y="753"/>
                  </a:lnTo>
                  <a:lnTo>
                    <a:pt x="911" y="755"/>
                  </a:lnTo>
                  <a:lnTo>
                    <a:pt x="908" y="756"/>
                  </a:lnTo>
                  <a:lnTo>
                    <a:pt x="904" y="756"/>
                  </a:lnTo>
                  <a:lnTo>
                    <a:pt x="835" y="756"/>
                  </a:lnTo>
                  <a:lnTo>
                    <a:pt x="830" y="756"/>
                  </a:lnTo>
                  <a:lnTo>
                    <a:pt x="827" y="755"/>
                  </a:lnTo>
                  <a:lnTo>
                    <a:pt x="823" y="753"/>
                  </a:lnTo>
                  <a:lnTo>
                    <a:pt x="820" y="750"/>
                  </a:lnTo>
                  <a:lnTo>
                    <a:pt x="818" y="747"/>
                  </a:lnTo>
                  <a:lnTo>
                    <a:pt x="816" y="744"/>
                  </a:lnTo>
                  <a:lnTo>
                    <a:pt x="815" y="740"/>
                  </a:lnTo>
                  <a:lnTo>
                    <a:pt x="814" y="736"/>
                  </a:lnTo>
                  <a:lnTo>
                    <a:pt x="814" y="31"/>
                  </a:lnTo>
                  <a:close/>
                  <a:moveTo>
                    <a:pt x="1071" y="382"/>
                  </a:moveTo>
                  <a:lnTo>
                    <a:pt x="1078" y="382"/>
                  </a:lnTo>
                  <a:lnTo>
                    <a:pt x="1084" y="381"/>
                  </a:lnTo>
                  <a:lnTo>
                    <a:pt x="1098" y="379"/>
                  </a:lnTo>
                  <a:lnTo>
                    <a:pt x="1110" y="376"/>
                  </a:lnTo>
                  <a:lnTo>
                    <a:pt x="1117" y="374"/>
                  </a:lnTo>
                  <a:lnTo>
                    <a:pt x="1123" y="372"/>
                  </a:lnTo>
                  <a:lnTo>
                    <a:pt x="1129" y="369"/>
                  </a:lnTo>
                  <a:lnTo>
                    <a:pt x="1135" y="366"/>
                  </a:lnTo>
                  <a:lnTo>
                    <a:pt x="1146" y="359"/>
                  </a:lnTo>
                  <a:lnTo>
                    <a:pt x="1156" y="351"/>
                  </a:lnTo>
                  <a:lnTo>
                    <a:pt x="1166" y="343"/>
                  </a:lnTo>
                  <a:lnTo>
                    <a:pt x="1175" y="333"/>
                  </a:lnTo>
                  <a:lnTo>
                    <a:pt x="1179" y="328"/>
                  </a:lnTo>
                  <a:lnTo>
                    <a:pt x="1182" y="323"/>
                  </a:lnTo>
                  <a:lnTo>
                    <a:pt x="1186" y="317"/>
                  </a:lnTo>
                  <a:lnTo>
                    <a:pt x="1189" y="312"/>
                  </a:lnTo>
                  <a:lnTo>
                    <a:pt x="1195" y="299"/>
                  </a:lnTo>
                  <a:lnTo>
                    <a:pt x="1198" y="292"/>
                  </a:lnTo>
                  <a:lnTo>
                    <a:pt x="1200" y="286"/>
                  </a:lnTo>
                  <a:lnTo>
                    <a:pt x="1203" y="273"/>
                  </a:lnTo>
                  <a:lnTo>
                    <a:pt x="1204" y="266"/>
                  </a:lnTo>
                  <a:lnTo>
                    <a:pt x="1205" y="263"/>
                  </a:lnTo>
                  <a:lnTo>
                    <a:pt x="1205" y="259"/>
                  </a:lnTo>
                  <a:lnTo>
                    <a:pt x="1206" y="252"/>
                  </a:lnTo>
                  <a:lnTo>
                    <a:pt x="1206" y="245"/>
                  </a:lnTo>
                  <a:lnTo>
                    <a:pt x="1206" y="238"/>
                  </a:lnTo>
                  <a:lnTo>
                    <a:pt x="1205" y="232"/>
                  </a:lnTo>
                  <a:lnTo>
                    <a:pt x="1203" y="219"/>
                  </a:lnTo>
                  <a:lnTo>
                    <a:pt x="1202" y="213"/>
                  </a:lnTo>
                  <a:lnTo>
                    <a:pt x="1200" y="206"/>
                  </a:lnTo>
                  <a:lnTo>
                    <a:pt x="1195" y="195"/>
                  </a:lnTo>
                  <a:lnTo>
                    <a:pt x="1189" y="183"/>
                  </a:lnTo>
                  <a:lnTo>
                    <a:pt x="1182" y="173"/>
                  </a:lnTo>
                  <a:lnTo>
                    <a:pt x="1179" y="168"/>
                  </a:lnTo>
                  <a:lnTo>
                    <a:pt x="1175" y="163"/>
                  </a:lnTo>
                  <a:lnTo>
                    <a:pt x="1170" y="158"/>
                  </a:lnTo>
                  <a:lnTo>
                    <a:pt x="1166" y="154"/>
                  </a:lnTo>
                  <a:lnTo>
                    <a:pt x="1156" y="146"/>
                  </a:lnTo>
                  <a:lnTo>
                    <a:pt x="1146" y="139"/>
                  </a:lnTo>
                  <a:lnTo>
                    <a:pt x="1135" y="132"/>
                  </a:lnTo>
                  <a:lnTo>
                    <a:pt x="1129" y="130"/>
                  </a:lnTo>
                  <a:lnTo>
                    <a:pt x="1123" y="127"/>
                  </a:lnTo>
                  <a:lnTo>
                    <a:pt x="1110" y="123"/>
                  </a:lnTo>
                  <a:lnTo>
                    <a:pt x="1098" y="120"/>
                  </a:lnTo>
                  <a:lnTo>
                    <a:pt x="1084" y="118"/>
                  </a:lnTo>
                  <a:lnTo>
                    <a:pt x="1071" y="117"/>
                  </a:lnTo>
                  <a:lnTo>
                    <a:pt x="924" y="117"/>
                  </a:lnTo>
                  <a:lnTo>
                    <a:pt x="924" y="382"/>
                  </a:lnTo>
                  <a:lnTo>
                    <a:pt x="1071" y="382"/>
                  </a:lnTo>
                  <a:close/>
                  <a:moveTo>
                    <a:pt x="1793" y="0"/>
                  </a:moveTo>
                  <a:lnTo>
                    <a:pt x="1812" y="1"/>
                  </a:lnTo>
                  <a:lnTo>
                    <a:pt x="1832" y="2"/>
                  </a:lnTo>
                  <a:lnTo>
                    <a:pt x="1851" y="5"/>
                  </a:lnTo>
                  <a:lnTo>
                    <a:pt x="1871" y="8"/>
                  </a:lnTo>
                  <a:lnTo>
                    <a:pt x="1890" y="12"/>
                  </a:lnTo>
                  <a:lnTo>
                    <a:pt x="1899" y="15"/>
                  </a:lnTo>
                  <a:lnTo>
                    <a:pt x="1908" y="18"/>
                  </a:lnTo>
                  <a:lnTo>
                    <a:pt x="1917" y="20"/>
                  </a:lnTo>
                  <a:lnTo>
                    <a:pt x="1926" y="24"/>
                  </a:lnTo>
                  <a:lnTo>
                    <a:pt x="1943" y="30"/>
                  </a:lnTo>
                  <a:lnTo>
                    <a:pt x="1960" y="38"/>
                  </a:lnTo>
                  <a:lnTo>
                    <a:pt x="1977" y="47"/>
                  </a:lnTo>
                  <a:lnTo>
                    <a:pt x="1993" y="56"/>
                  </a:lnTo>
                  <a:lnTo>
                    <a:pt x="2008" y="66"/>
                  </a:lnTo>
                  <a:lnTo>
                    <a:pt x="2023" y="76"/>
                  </a:lnTo>
                  <a:lnTo>
                    <a:pt x="2038" y="88"/>
                  </a:lnTo>
                  <a:lnTo>
                    <a:pt x="2052" y="100"/>
                  </a:lnTo>
                  <a:lnTo>
                    <a:pt x="2058" y="106"/>
                  </a:lnTo>
                  <a:lnTo>
                    <a:pt x="2065" y="113"/>
                  </a:lnTo>
                  <a:lnTo>
                    <a:pt x="2077" y="126"/>
                  </a:lnTo>
                  <a:lnTo>
                    <a:pt x="2089" y="140"/>
                  </a:lnTo>
                  <a:lnTo>
                    <a:pt x="2095" y="147"/>
                  </a:lnTo>
                  <a:lnTo>
                    <a:pt x="2101" y="154"/>
                  </a:lnTo>
                  <a:lnTo>
                    <a:pt x="2111" y="169"/>
                  </a:lnTo>
                  <a:lnTo>
                    <a:pt x="2121" y="185"/>
                  </a:lnTo>
                  <a:lnTo>
                    <a:pt x="2131" y="201"/>
                  </a:lnTo>
                  <a:lnTo>
                    <a:pt x="2139" y="218"/>
                  </a:lnTo>
                  <a:lnTo>
                    <a:pt x="2147" y="235"/>
                  </a:lnTo>
                  <a:lnTo>
                    <a:pt x="2150" y="243"/>
                  </a:lnTo>
                  <a:lnTo>
                    <a:pt x="2153" y="252"/>
                  </a:lnTo>
                  <a:lnTo>
                    <a:pt x="2159" y="270"/>
                  </a:lnTo>
                  <a:lnTo>
                    <a:pt x="2165" y="288"/>
                  </a:lnTo>
                  <a:lnTo>
                    <a:pt x="2169" y="308"/>
                  </a:lnTo>
                  <a:lnTo>
                    <a:pt x="2171" y="317"/>
                  </a:lnTo>
                  <a:lnTo>
                    <a:pt x="2172" y="327"/>
                  </a:lnTo>
                  <a:lnTo>
                    <a:pt x="2175" y="346"/>
                  </a:lnTo>
                  <a:lnTo>
                    <a:pt x="2176" y="366"/>
                  </a:lnTo>
                  <a:lnTo>
                    <a:pt x="2177" y="385"/>
                  </a:lnTo>
                  <a:lnTo>
                    <a:pt x="2176" y="405"/>
                  </a:lnTo>
                  <a:lnTo>
                    <a:pt x="2175" y="425"/>
                  </a:lnTo>
                  <a:lnTo>
                    <a:pt x="2172" y="444"/>
                  </a:lnTo>
                  <a:lnTo>
                    <a:pt x="2169" y="463"/>
                  </a:lnTo>
                  <a:lnTo>
                    <a:pt x="2165" y="481"/>
                  </a:lnTo>
                  <a:lnTo>
                    <a:pt x="2162" y="491"/>
                  </a:lnTo>
                  <a:lnTo>
                    <a:pt x="2159" y="500"/>
                  </a:lnTo>
                  <a:lnTo>
                    <a:pt x="2157" y="509"/>
                  </a:lnTo>
                  <a:lnTo>
                    <a:pt x="2153" y="517"/>
                  </a:lnTo>
                  <a:lnTo>
                    <a:pt x="2147" y="535"/>
                  </a:lnTo>
                  <a:lnTo>
                    <a:pt x="2139" y="552"/>
                  </a:lnTo>
                  <a:lnTo>
                    <a:pt x="2131" y="568"/>
                  </a:lnTo>
                  <a:lnTo>
                    <a:pt x="2121" y="584"/>
                  </a:lnTo>
                  <a:lnTo>
                    <a:pt x="2111" y="600"/>
                  </a:lnTo>
                  <a:lnTo>
                    <a:pt x="2101" y="615"/>
                  </a:lnTo>
                  <a:lnTo>
                    <a:pt x="2089" y="629"/>
                  </a:lnTo>
                  <a:lnTo>
                    <a:pt x="2077" y="643"/>
                  </a:lnTo>
                  <a:lnTo>
                    <a:pt x="2071" y="649"/>
                  </a:lnTo>
                  <a:lnTo>
                    <a:pt x="2065" y="656"/>
                  </a:lnTo>
                  <a:lnTo>
                    <a:pt x="2052" y="669"/>
                  </a:lnTo>
                  <a:lnTo>
                    <a:pt x="2038" y="681"/>
                  </a:lnTo>
                  <a:lnTo>
                    <a:pt x="2031" y="686"/>
                  </a:lnTo>
                  <a:lnTo>
                    <a:pt x="2023" y="692"/>
                  </a:lnTo>
                  <a:lnTo>
                    <a:pt x="2008" y="702"/>
                  </a:lnTo>
                  <a:lnTo>
                    <a:pt x="2001" y="707"/>
                  </a:lnTo>
                  <a:lnTo>
                    <a:pt x="1993" y="712"/>
                  </a:lnTo>
                  <a:lnTo>
                    <a:pt x="1977" y="721"/>
                  </a:lnTo>
                  <a:lnTo>
                    <a:pt x="1960" y="730"/>
                  </a:lnTo>
                  <a:lnTo>
                    <a:pt x="1952" y="734"/>
                  </a:lnTo>
                  <a:lnTo>
                    <a:pt x="1943" y="737"/>
                  </a:lnTo>
                  <a:lnTo>
                    <a:pt x="1935" y="741"/>
                  </a:lnTo>
                  <a:lnTo>
                    <a:pt x="1926" y="744"/>
                  </a:lnTo>
                  <a:lnTo>
                    <a:pt x="1908" y="750"/>
                  </a:lnTo>
                  <a:lnTo>
                    <a:pt x="1890" y="755"/>
                  </a:lnTo>
                  <a:lnTo>
                    <a:pt x="1871" y="759"/>
                  </a:lnTo>
                  <a:lnTo>
                    <a:pt x="1851" y="763"/>
                  </a:lnTo>
                  <a:lnTo>
                    <a:pt x="1832" y="765"/>
                  </a:lnTo>
                  <a:lnTo>
                    <a:pt x="1812" y="767"/>
                  </a:lnTo>
                  <a:lnTo>
                    <a:pt x="1793" y="767"/>
                  </a:lnTo>
                  <a:lnTo>
                    <a:pt x="1773" y="767"/>
                  </a:lnTo>
                  <a:lnTo>
                    <a:pt x="1753" y="765"/>
                  </a:lnTo>
                  <a:lnTo>
                    <a:pt x="1734" y="763"/>
                  </a:lnTo>
                  <a:lnTo>
                    <a:pt x="1715" y="759"/>
                  </a:lnTo>
                  <a:lnTo>
                    <a:pt x="1697" y="755"/>
                  </a:lnTo>
                  <a:lnTo>
                    <a:pt x="1678" y="750"/>
                  </a:lnTo>
                  <a:lnTo>
                    <a:pt x="1669" y="747"/>
                  </a:lnTo>
                  <a:lnTo>
                    <a:pt x="1661" y="744"/>
                  </a:lnTo>
                  <a:lnTo>
                    <a:pt x="1643" y="737"/>
                  </a:lnTo>
                  <a:lnTo>
                    <a:pt x="1626" y="730"/>
                  </a:lnTo>
                  <a:lnTo>
                    <a:pt x="1610" y="721"/>
                  </a:lnTo>
                  <a:lnTo>
                    <a:pt x="1594" y="712"/>
                  </a:lnTo>
                  <a:lnTo>
                    <a:pt x="1578" y="702"/>
                  </a:lnTo>
                  <a:lnTo>
                    <a:pt x="1563" y="692"/>
                  </a:lnTo>
                  <a:lnTo>
                    <a:pt x="1549" y="681"/>
                  </a:lnTo>
                  <a:lnTo>
                    <a:pt x="1542" y="675"/>
                  </a:lnTo>
                  <a:lnTo>
                    <a:pt x="1535" y="669"/>
                  </a:lnTo>
                  <a:lnTo>
                    <a:pt x="1522" y="656"/>
                  </a:lnTo>
                  <a:lnTo>
                    <a:pt x="1509" y="643"/>
                  </a:lnTo>
                  <a:lnTo>
                    <a:pt x="1497" y="629"/>
                  </a:lnTo>
                  <a:lnTo>
                    <a:pt x="1492" y="622"/>
                  </a:lnTo>
                  <a:lnTo>
                    <a:pt x="1486" y="615"/>
                  </a:lnTo>
                  <a:lnTo>
                    <a:pt x="1476" y="600"/>
                  </a:lnTo>
                  <a:lnTo>
                    <a:pt x="1471" y="592"/>
                  </a:lnTo>
                  <a:lnTo>
                    <a:pt x="1466" y="584"/>
                  </a:lnTo>
                  <a:lnTo>
                    <a:pt x="1457" y="568"/>
                  </a:lnTo>
                  <a:lnTo>
                    <a:pt x="1448" y="552"/>
                  </a:lnTo>
                  <a:lnTo>
                    <a:pt x="1444" y="543"/>
                  </a:lnTo>
                  <a:lnTo>
                    <a:pt x="1441" y="535"/>
                  </a:lnTo>
                  <a:lnTo>
                    <a:pt x="1437" y="526"/>
                  </a:lnTo>
                  <a:lnTo>
                    <a:pt x="1434" y="517"/>
                  </a:lnTo>
                  <a:lnTo>
                    <a:pt x="1428" y="500"/>
                  </a:lnTo>
                  <a:lnTo>
                    <a:pt x="1423" y="481"/>
                  </a:lnTo>
                  <a:lnTo>
                    <a:pt x="1419" y="463"/>
                  </a:lnTo>
                  <a:lnTo>
                    <a:pt x="1415" y="444"/>
                  </a:lnTo>
                  <a:lnTo>
                    <a:pt x="1413" y="425"/>
                  </a:lnTo>
                  <a:lnTo>
                    <a:pt x="1411" y="405"/>
                  </a:lnTo>
                  <a:lnTo>
                    <a:pt x="1411" y="385"/>
                  </a:lnTo>
                  <a:lnTo>
                    <a:pt x="1411" y="366"/>
                  </a:lnTo>
                  <a:lnTo>
                    <a:pt x="1413" y="346"/>
                  </a:lnTo>
                  <a:lnTo>
                    <a:pt x="1415" y="327"/>
                  </a:lnTo>
                  <a:lnTo>
                    <a:pt x="1419" y="308"/>
                  </a:lnTo>
                  <a:lnTo>
                    <a:pt x="1423" y="288"/>
                  </a:lnTo>
                  <a:lnTo>
                    <a:pt x="1428" y="270"/>
                  </a:lnTo>
                  <a:lnTo>
                    <a:pt x="1431" y="261"/>
                  </a:lnTo>
                  <a:lnTo>
                    <a:pt x="1434" y="252"/>
                  </a:lnTo>
                  <a:lnTo>
                    <a:pt x="1437" y="243"/>
                  </a:lnTo>
                  <a:lnTo>
                    <a:pt x="1441" y="235"/>
                  </a:lnTo>
                  <a:lnTo>
                    <a:pt x="1448" y="218"/>
                  </a:lnTo>
                  <a:lnTo>
                    <a:pt x="1457" y="201"/>
                  </a:lnTo>
                  <a:lnTo>
                    <a:pt x="1466" y="185"/>
                  </a:lnTo>
                  <a:lnTo>
                    <a:pt x="1476" y="169"/>
                  </a:lnTo>
                  <a:lnTo>
                    <a:pt x="1486" y="154"/>
                  </a:lnTo>
                  <a:lnTo>
                    <a:pt x="1497" y="140"/>
                  </a:lnTo>
                  <a:lnTo>
                    <a:pt x="1503" y="133"/>
                  </a:lnTo>
                  <a:lnTo>
                    <a:pt x="1509" y="126"/>
                  </a:lnTo>
                  <a:lnTo>
                    <a:pt x="1522" y="113"/>
                  </a:lnTo>
                  <a:lnTo>
                    <a:pt x="1535" y="100"/>
                  </a:lnTo>
                  <a:lnTo>
                    <a:pt x="1542" y="94"/>
                  </a:lnTo>
                  <a:lnTo>
                    <a:pt x="1549" y="88"/>
                  </a:lnTo>
                  <a:lnTo>
                    <a:pt x="1563" y="76"/>
                  </a:lnTo>
                  <a:lnTo>
                    <a:pt x="1578" y="66"/>
                  </a:lnTo>
                  <a:lnTo>
                    <a:pt x="1594" y="56"/>
                  </a:lnTo>
                  <a:lnTo>
                    <a:pt x="1610" y="47"/>
                  </a:lnTo>
                  <a:lnTo>
                    <a:pt x="1626" y="38"/>
                  </a:lnTo>
                  <a:lnTo>
                    <a:pt x="1643" y="30"/>
                  </a:lnTo>
                  <a:lnTo>
                    <a:pt x="1652" y="27"/>
                  </a:lnTo>
                  <a:lnTo>
                    <a:pt x="1661" y="24"/>
                  </a:lnTo>
                  <a:lnTo>
                    <a:pt x="1669" y="20"/>
                  </a:lnTo>
                  <a:lnTo>
                    <a:pt x="1678" y="18"/>
                  </a:lnTo>
                  <a:lnTo>
                    <a:pt x="1697" y="12"/>
                  </a:lnTo>
                  <a:lnTo>
                    <a:pt x="1715" y="8"/>
                  </a:lnTo>
                  <a:lnTo>
                    <a:pt x="1725" y="6"/>
                  </a:lnTo>
                  <a:lnTo>
                    <a:pt x="1734" y="5"/>
                  </a:lnTo>
                  <a:lnTo>
                    <a:pt x="1753" y="2"/>
                  </a:lnTo>
                  <a:lnTo>
                    <a:pt x="1773" y="1"/>
                  </a:lnTo>
                  <a:lnTo>
                    <a:pt x="1793" y="0"/>
                  </a:lnTo>
                  <a:close/>
                  <a:moveTo>
                    <a:pt x="1793" y="661"/>
                  </a:moveTo>
                  <a:lnTo>
                    <a:pt x="1807" y="660"/>
                  </a:lnTo>
                  <a:lnTo>
                    <a:pt x="1821" y="659"/>
                  </a:lnTo>
                  <a:lnTo>
                    <a:pt x="1835" y="658"/>
                  </a:lnTo>
                  <a:lnTo>
                    <a:pt x="1848" y="655"/>
                  </a:lnTo>
                  <a:lnTo>
                    <a:pt x="1862" y="652"/>
                  </a:lnTo>
                  <a:lnTo>
                    <a:pt x="1876" y="648"/>
                  </a:lnTo>
                  <a:lnTo>
                    <a:pt x="1888" y="644"/>
                  </a:lnTo>
                  <a:lnTo>
                    <a:pt x="1901" y="639"/>
                  </a:lnTo>
                  <a:lnTo>
                    <a:pt x="1913" y="634"/>
                  </a:lnTo>
                  <a:lnTo>
                    <a:pt x="1925" y="628"/>
                  </a:lnTo>
                  <a:lnTo>
                    <a:pt x="1931" y="624"/>
                  </a:lnTo>
                  <a:lnTo>
                    <a:pt x="1937" y="621"/>
                  </a:lnTo>
                  <a:lnTo>
                    <a:pt x="1948" y="614"/>
                  </a:lnTo>
                  <a:lnTo>
                    <a:pt x="1959" y="606"/>
                  </a:lnTo>
                  <a:lnTo>
                    <a:pt x="1969" y="598"/>
                  </a:lnTo>
                  <a:lnTo>
                    <a:pt x="1979" y="589"/>
                  </a:lnTo>
                  <a:lnTo>
                    <a:pt x="1989" y="580"/>
                  </a:lnTo>
                  <a:lnTo>
                    <a:pt x="1998" y="571"/>
                  </a:lnTo>
                  <a:lnTo>
                    <a:pt x="2007" y="561"/>
                  </a:lnTo>
                  <a:lnTo>
                    <a:pt x="2015" y="550"/>
                  </a:lnTo>
                  <a:lnTo>
                    <a:pt x="2023" y="539"/>
                  </a:lnTo>
                  <a:lnTo>
                    <a:pt x="2030" y="528"/>
                  </a:lnTo>
                  <a:lnTo>
                    <a:pt x="2037" y="517"/>
                  </a:lnTo>
                  <a:lnTo>
                    <a:pt x="2043" y="505"/>
                  </a:lnTo>
                  <a:lnTo>
                    <a:pt x="2048" y="493"/>
                  </a:lnTo>
                  <a:lnTo>
                    <a:pt x="2053" y="480"/>
                  </a:lnTo>
                  <a:lnTo>
                    <a:pt x="2058" y="467"/>
                  </a:lnTo>
                  <a:lnTo>
                    <a:pt x="2061" y="454"/>
                  </a:lnTo>
                  <a:lnTo>
                    <a:pt x="2065" y="441"/>
                  </a:lnTo>
                  <a:lnTo>
                    <a:pt x="2067" y="427"/>
                  </a:lnTo>
                  <a:lnTo>
                    <a:pt x="2069" y="413"/>
                  </a:lnTo>
                  <a:lnTo>
                    <a:pt x="2070" y="399"/>
                  </a:lnTo>
                  <a:lnTo>
                    <a:pt x="2070" y="385"/>
                  </a:lnTo>
                  <a:lnTo>
                    <a:pt x="2070" y="371"/>
                  </a:lnTo>
                  <a:lnTo>
                    <a:pt x="2069" y="357"/>
                  </a:lnTo>
                  <a:lnTo>
                    <a:pt x="2067" y="344"/>
                  </a:lnTo>
                  <a:lnTo>
                    <a:pt x="2065" y="330"/>
                  </a:lnTo>
                  <a:lnTo>
                    <a:pt x="2061" y="317"/>
                  </a:lnTo>
                  <a:lnTo>
                    <a:pt x="2058" y="304"/>
                  </a:lnTo>
                  <a:lnTo>
                    <a:pt x="2053" y="290"/>
                  </a:lnTo>
                  <a:lnTo>
                    <a:pt x="2048" y="277"/>
                  </a:lnTo>
                  <a:lnTo>
                    <a:pt x="2043" y="265"/>
                  </a:lnTo>
                  <a:lnTo>
                    <a:pt x="2037" y="253"/>
                  </a:lnTo>
                  <a:lnTo>
                    <a:pt x="2030" y="241"/>
                  </a:lnTo>
                  <a:lnTo>
                    <a:pt x="2023" y="230"/>
                  </a:lnTo>
                  <a:lnTo>
                    <a:pt x="2015" y="219"/>
                  </a:lnTo>
                  <a:lnTo>
                    <a:pt x="2007" y="209"/>
                  </a:lnTo>
                  <a:lnTo>
                    <a:pt x="1998" y="199"/>
                  </a:lnTo>
                  <a:lnTo>
                    <a:pt x="1989" y="189"/>
                  </a:lnTo>
                  <a:lnTo>
                    <a:pt x="1979" y="180"/>
                  </a:lnTo>
                  <a:lnTo>
                    <a:pt x="1969" y="171"/>
                  </a:lnTo>
                  <a:lnTo>
                    <a:pt x="1959" y="163"/>
                  </a:lnTo>
                  <a:lnTo>
                    <a:pt x="1948" y="155"/>
                  </a:lnTo>
                  <a:lnTo>
                    <a:pt x="1937" y="147"/>
                  </a:lnTo>
                  <a:lnTo>
                    <a:pt x="1925" y="141"/>
                  </a:lnTo>
                  <a:lnTo>
                    <a:pt x="1913" y="135"/>
                  </a:lnTo>
                  <a:lnTo>
                    <a:pt x="1901" y="129"/>
                  </a:lnTo>
                  <a:lnTo>
                    <a:pt x="1888" y="124"/>
                  </a:lnTo>
                  <a:lnTo>
                    <a:pt x="1876" y="119"/>
                  </a:lnTo>
                  <a:lnTo>
                    <a:pt x="1862" y="116"/>
                  </a:lnTo>
                  <a:lnTo>
                    <a:pt x="1848" y="113"/>
                  </a:lnTo>
                  <a:lnTo>
                    <a:pt x="1835" y="110"/>
                  </a:lnTo>
                  <a:lnTo>
                    <a:pt x="1821" y="108"/>
                  </a:lnTo>
                  <a:lnTo>
                    <a:pt x="1807" y="107"/>
                  </a:lnTo>
                  <a:lnTo>
                    <a:pt x="1793" y="107"/>
                  </a:lnTo>
                  <a:lnTo>
                    <a:pt x="1779" y="107"/>
                  </a:lnTo>
                  <a:lnTo>
                    <a:pt x="1765" y="108"/>
                  </a:lnTo>
                  <a:lnTo>
                    <a:pt x="1751" y="110"/>
                  </a:lnTo>
                  <a:lnTo>
                    <a:pt x="1737" y="113"/>
                  </a:lnTo>
                  <a:lnTo>
                    <a:pt x="1724" y="116"/>
                  </a:lnTo>
                  <a:lnTo>
                    <a:pt x="1711" y="119"/>
                  </a:lnTo>
                  <a:lnTo>
                    <a:pt x="1698" y="124"/>
                  </a:lnTo>
                  <a:lnTo>
                    <a:pt x="1686" y="129"/>
                  </a:lnTo>
                  <a:lnTo>
                    <a:pt x="1674" y="135"/>
                  </a:lnTo>
                  <a:lnTo>
                    <a:pt x="1662" y="141"/>
                  </a:lnTo>
                  <a:lnTo>
                    <a:pt x="1650" y="147"/>
                  </a:lnTo>
                  <a:lnTo>
                    <a:pt x="1639" y="155"/>
                  </a:lnTo>
                  <a:lnTo>
                    <a:pt x="1628" y="163"/>
                  </a:lnTo>
                  <a:lnTo>
                    <a:pt x="1618" y="171"/>
                  </a:lnTo>
                  <a:lnTo>
                    <a:pt x="1608" y="180"/>
                  </a:lnTo>
                  <a:lnTo>
                    <a:pt x="1598" y="189"/>
                  </a:lnTo>
                  <a:lnTo>
                    <a:pt x="1589" y="199"/>
                  </a:lnTo>
                  <a:lnTo>
                    <a:pt x="1580" y="209"/>
                  </a:lnTo>
                  <a:lnTo>
                    <a:pt x="1572" y="219"/>
                  </a:lnTo>
                  <a:lnTo>
                    <a:pt x="1565" y="230"/>
                  </a:lnTo>
                  <a:lnTo>
                    <a:pt x="1557" y="241"/>
                  </a:lnTo>
                  <a:lnTo>
                    <a:pt x="1551" y="253"/>
                  </a:lnTo>
                  <a:lnTo>
                    <a:pt x="1545" y="265"/>
                  </a:lnTo>
                  <a:lnTo>
                    <a:pt x="1539" y="277"/>
                  </a:lnTo>
                  <a:lnTo>
                    <a:pt x="1534" y="290"/>
                  </a:lnTo>
                  <a:lnTo>
                    <a:pt x="1530" y="304"/>
                  </a:lnTo>
                  <a:lnTo>
                    <a:pt x="1526" y="317"/>
                  </a:lnTo>
                  <a:lnTo>
                    <a:pt x="1523" y="330"/>
                  </a:lnTo>
                  <a:lnTo>
                    <a:pt x="1520" y="344"/>
                  </a:lnTo>
                  <a:lnTo>
                    <a:pt x="1519" y="357"/>
                  </a:lnTo>
                  <a:lnTo>
                    <a:pt x="1518" y="371"/>
                  </a:lnTo>
                  <a:lnTo>
                    <a:pt x="1517" y="385"/>
                  </a:lnTo>
                  <a:lnTo>
                    <a:pt x="1518" y="399"/>
                  </a:lnTo>
                  <a:lnTo>
                    <a:pt x="1519" y="413"/>
                  </a:lnTo>
                  <a:lnTo>
                    <a:pt x="1520" y="427"/>
                  </a:lnTo>
                  <a:lnTo>
                    <a:pt x="1523" y="441"/>
                  </a:lnTo>
                  <a:lnTo>
                    <a:pt x="1526" y="454"/>
                  </a:lnTo>
                  <a:lnTo>
                    <a:pt x="1530" y="467"/>
                  </a:lnTo>
                  <a:lnTo>
                    <a:pt x="1534" y="480"/>
                  </a:lnTo>
                  <a:lnTo>
                    <a:pt x="1539" y="493"/>
                  </a:lnTo>
                  <a:lnTo>
                    <a:pt x="1545" y="505"/>
                  </a:lnTo>
                  <a:lnTo>
                    <a:pt x="1551" y="517"/>
                  </a:lnTo>
                  <a:lnTo>
                    <a:pt x="1557" y="528"/>
                  </a:lnTo>
                  <a:lnTo>
                    <a:pt x="1565" y="539"/>
                  </a:lnTo>
                  <a:lnTo>
                    <a:pt x="1572" y="550"/>
                  </a:lnTo>
                  <a:lnTo>
                    <a:pt x="1580" y="561"/>
                  </a:lnTo>
                  <a:lnTo>
                    <a:pt x="1589" y="571"/>
                  </a:lnTo>
                  <a:lnTo>
                    <a:pt x="1598" y="580"/>
                  </a:lnTo>
                  <a:lnTo>
                    <a:pt x="1608" y="589"/>
                  </a:lnTo>
                  <a:lnTo>
                    <a:pt x="1618" y="598"/>
                  </a:lnTo>
                  <a:lnTo>
                    <a:pt x="1628" y="606"/>
                  </a:lnTo>
                  <a:lnTo>
                    <a:pt x="1639" y="614"/>
                  </a:lnTo>
                  <a:lnTo>
                    <a:pt x="1650" y="621"/>
                  </a:lnTo>
                  <a:lnTo>
                    <a:pt x="1662" y="628"/>
                  </a:lnTo>
                  <a:lnTo>
                    <a:pt x="1674" y="634"/>
                  </a:lnTo>
                  <a:lnTo>
                    <a:pt x="1686" y="639"/>
                  </a:lnTo>
                  <a:lnTo>
                    <a:pt x="1698" y="644"/>
                  </a:lnTo>
                  <a:lnTo>
                    <a:pt x="1711" y="648"/>
                  </a:lnTo>
                  <a:lnTo>
                    <a:pt x="1724" y="652"/>
                  </a:lnTo>
                  <a:lnTo>
                    <a:pt x="1737" y="655"/>
                  </a:lnTo>
                  <a:lnTo>
                    <a:pt x="1751" y="658"/>
                  </a:lnTo>
                  <a:lnTo>
                    <a:pt x="1765" y="659"/>
                  </a:lnTo>
                  <a:lnTo>
                    <a:pt x="1779" y="660"/>
                  </a:lnTo>
                  <a:lnTo>
                    <a:pt x="1793" y="661"/>
                  </a:lnTo>
                  <a:close/>
                  <a:moveTo>
                    <a:pt x="2426" y="111"/>
                  </a:moveTo>
                  <a:lnTo>
                    <a:pt x="2235" y="111"/>
                  </a:lnTo>
                  <a:lnTo>
                    <a:pt x="2230" y="111"/>
                  </a:lnTo>
                  <a:lnTo>
                    <a:pt x="2227" y="109"/>
                  </a:lnTo>
                  <a:lnTo>
                    <a:pt x="2223" y="107"/>
                  </a:lnTo>
                  <a:lnTo>
                    <a:pt x="2220" y="105"/>
                  </a:lnTo>
                  <a:lnTo>
                    <a:pt x="2218" y="102"/>
                  </a:lnTo>
                  <a:lnTo>
                    <a:pt x="2216" y="98"/>
                  </a:lnTo>
                  <a:lnTo>
                    <a:pt x="2215" y="95"/>
                  </a:lnTo>
                  <a:lnTo>
                    <a:pt x="2214" y="91"/>
                  </a:lnTo>
                  <a:lnTo>
                    <a:pt x="2214" y="31"/>
                  </a:lnTo>
                  <a:lnTo>
                    <a:pt x="2215" y="27"/>
                  </a:lnTo>
                  <a:lnTo>
                    <a:pt x="2216" y="24"/>
                  </a:lnTo>
                  <a:lnTo>
                    <a:pt x="2218" y="20"/>
                  </a:lnTo>
                  <a:lnTo>
                    <a:pt x="2220" y="17"/>
                  </a:lnTo>
                  <a:lnTo>
                    <a:pt x="2223" y="15"/>
                  </a:lnTo>
                  <a:lnTo>
                    <a:pt x="2227" y="13"/>
                  </a:lnTo>
                  <a:lnTo>
                    <a:pt x="2230" y="11"/>
                  </a:lnTo>
                  <a:lnTo>
                    <a:pt x="2235" y="11"/>
                  </a:lnTo>
                  <a:lnTo>
                    <a:pt x="2727" y="11"/>
                  </a:lnTo>
                  <a:lnTo>
                    <a:pt x="2732" y="11"/>
                  </a:lnTo>
                  <a:lnTo>
                    <a:pt x="2736" y="13"/>
                  </a:lnTo>
                  <a:lnTo>
                    <a:pt x="2739" y="15"/>
                  </a:lnTo>
                  <a:lnTo>
                    <a:pt x="2742" y="17"/>
                  </a:lnTo>
                  <a:lnTo>
                    <a:pt x="2744" y="20"/>
                  </a:lnTo>
                  <a:lnTo>
                    <a:pt x="2746" y="24"/>
                  </a:lnTo>
                  <a:lnTo>
                    <a:pt x="2747" y="27"/>
                  </a:lnTo>
                  <a:lnTo>
                    <a:pt x="2748" y="31"/>
                  </a:lnTo>
                  <a:lnTo>
                    <a:pt x="2748" y="91"/>
                  </a:lnTo>
                  <a:lnTo>
                    <a:pt x="2747" y="95"/>
                  </a:lnTo>
                  <a:lnTo>
                    <a:pt x="2746" y="98"/>
                  </a:lnTo>
                  <a:lnTo>
                    <a:pt x="2744" y="102"/>
                  </a:lnTo>
                  <a:lnTo>
                    <a:pt x="2742" y="105"/>
                  </a:lnTo>
                  <a:lnTo>
                    <a:pt x="2739" y="107"/>
                  </a:lnTo>
                  <a:lnTo>
                    <a:pt x="2736" y="109"/>
                  </a:lnTo>
                  <a:lnTo>
                    <a:pt x="2732" y="111"/>
                  </a:lnTo>
                  <a:lnTo>
                    <a:pt x="2727" y="111"/>
                  </a:lnTo>
                  <a:lnTo>
                    <a:pt x="2536" y="111"/>
                  </a:lnTo>
                  <a:lnTo>
                    <a:pt x="2536" y="736"/>
                  </a:lnTo>
                  <a:lnTo>
                    <a:pt x="2536" y="740"/>
                  </a:lnTo>
                  <a:lnTo>
                    <a:pt x="2535" y="744"/>
                  </a:lnTo>
                  <a:lnTo>
                    <a:pt x="2533" y="747"/>
                  </a:lnTo>
                  <a:lnTo>
                    <a:pt x="2530" y="750"/>
                  </a:lnTo>
                  <a:lnTo>
                    <a:pt x="2527" y="753"/>
                  </a:lnTo>
                  <a:lnTo>
                    <a:pt x="2524" y="755"/>
                  </a:lnTo>
                  <a:lnTo>
                    <a:pt x="2520" y="756"/>
                  </a:lnTo>
                  <a:lnTo>
                    <a:pt x="2516" y="757"/>
                  </a:lnTo>
                  <a:lnTo>
                    <a:pt x="2446" y="757"/>
                  </a:lnTo>
                  <a:lnTo>
                    <a:pt x="2442" y="756"/>
                  </a:lnTo>
                  <a:lnTo>
                    <a:pt x="2438" y="755"/>
                  </a:lnTo>
                  <a:lnTo>
                    <a:pt x="2435" y="753"/>
                  </a:lnTo>
                  <a:lnTo>
                    <a:pt x="2432" y="750"/>
                  </a:lnTo>
                  <a:lnTo>
                    <a:pt x="2429" y="747"/>
                  </a:lnTo>
                  <a:lnTo>
                    <a:pt x="2427" y="744"/>
                  </a:lnTo>
                  <a:lnTo>
                    <a:pt x="2426" y="740"/>
                  </a:lnTo>
                  <a:lnTo>
                    <a:pt x="2426" y="736"/>
                  </a:lnTo>
                  <a:lnTo>
                    <a:pt x="2426" y="111"/>
                  </a:lnTo>
                  <a:close/>
                  <a:moveTo>
                    <a:pt x="2885" y="31"/>
                  </a:moveTo>
                  <a:lnTo>
                    <a:pt x="2885" y="27"/>
                  </a:lnTo>
                  <a:lnTo>
                    <a:pt x="2886" y="24"/>
                  </a:lnTo>
                  <a:lnTo>
                    <a:pt x="2888" y="20"/>
                  </a:lnTo>
                  <a:lnTo>
                    <a:pt x="2891" y="17"/>
                  </a:lnTo>
                  <a:lnTo>
                    <a:pt x="2893" y="15"/>
                  </a:lnTo>
                  <a:lnTo>
                    <a:pt x="2897" y="13"/>
                  </a:lnTo>
                  <a:lnTo>
                    <a:pt x="2901" y="11"/>
                  </a:lnTo>
                  <a:lnTo>
                    <a:pt x="2905" y="11"/>
                  </a:lnTo>
                  <a:lnTo>
                    <a:pt x="3331" y="11"/>
                  </a:lnTo>
                  <a:lnTo>
                    <a:pt x="3336" y="11"/>
                  </a:lnTo>
                  <a:lnTo>
                    <a:pt x="3340" y="13"/>
                  </a:lnTo>
                  <a:lnTo>
                    <a:pt x="3343" y="15"/>
                  </a:lnTo>
                  <a:lnTo>
                    <a:pt x="3346" y="17"/>
                  </a:lnTo>
                  <a:lnTo>
                    <a:pt x="3348" y="20"/>
                  </a:lnTo>
                  <a:lnTo>
                    <a:pt x="3350" y="24"/>
                  </a:lnTo>
                  <a:lnTo>
                    <a:pt x="3351" y="27"/>
                  </a:lnTo>
                  <a:lnTo>
                    <a:pt x="3352" y="31"/>
                  </a:lnTo>
                  <a:lnTo>
                    <a:pt x="3352" y="91"/>
                  </a:lnTo>
                  <a:lnTo>
                    <a:pt x="3351" y="95"/>
                  </a:lnTo>
                  <a:lnTo>
                    <a:pt x="3350" y="98"/>
                  </a:lnTo>
                  <a:lnTo>
                    <a:pt x="3348" y="102"/>
                  </a:lnTo>
                  <a:lnTo>
                    <a:pt x="3346" y="105"/>
                  </a:lnTo>
                  <a:lnTo>
                    <a:pt x="3343" y="107"/>
                  </a:lnTo>
                  <a:lnTo>
                    <a:pt x="3340" y="109"/>
                  </a:lnTo>
                  <a:lnTo>
                    <a:pt x="3336" y="111"/>
                  </a:lnTo>
                  <a:lnTo>
                    <a:pt x="3331" y="111"/>
                  </a:lnTo>
                  <a:lnTo>
                    <a:pt x="2994" y="111"/>
                  </a:lnTo>
                  <a:lnTo>
                    <a:pt x="2994" y="329"/>
                  </a:lnTo>
                  <a:lnTo>
                    <a:pt x="3278" y="329"/>
                  </a:lnTo>
                  <a:lnTo>
                    <a:pt x="3282" y="329"/>
                  </a:lnTo>
                  <a:lnTo>
                    <a:pt x="3286" y="331"/>
                  </a:lnTo>
                  <a:lnTo>
                    <a:pt x="3289" y="333"/>
                  </a:lnTo>
                  <a:lnTo>
                    <a:pt x="3292" y="335"/>
                  </a:lnTo>
                  <a:lnTo>
                    <a:pt x="3295" y="338"/>
                  </a:lnTo>
                  <a:lnTo>
                    <a:pt x="3297" y="342"/>
                  </a:lnTo>
                  <a:lnTo>
                    <a:pt x="3298" y="345"/>
                  </a:lnTo>
                  <a:lnTo>
                    <a:pt x="3298" y="349"/>
                  </a:lnTo>
                  <a:lnTo>
                    <a:pt x="3298" y="409"/>
                  </a:lnTo>
                  <a:lnTo>
                    <a:pt x="3298" y="413"/>
                  </a:lnTo>
                  <a:lnTo>
                    <a:pt x="3297" y="417"/>
                  </a:lnTo>
                  <a:lnTo>
                    <a:pt x="3295" y="420"/>
                  </a:lnTo>
                  <a:lnTo>
                    <a:pt x="3292" y="423"/>
                  </a:lnTo>
                  <a:lnTo>
                    <a:pt x="3289" y="426"/>
                  </a:lnTo>
                  <a:lnTo>
                    <a:pt x="3286" y="427"/>
                  </a:lnTo>
                  <a:lnTo>
                    <a:pt x="3282" y="429"/>
                  </a:lnTo>
                  <a:lnTo>
                    <a:pt x="3278" y="429"/>
                  </a:lnTo>
                  <a:lnTo>
                    <a:pt x="2994" y="429"/>
                  </a:lnTo>
                  <a:lnTo>
                    <a:pt x="2994" y="658"/>
                  </a:lnTo>
                  <a:lnTo>
                    <a:pt x="3331" y="658"/>
                  </a:lnTo>
                  <a:lnTo>
                    <a:pt x="3336" y="658"/>
                  </a:lnTo>
                  <a:lnTo>
                    <a:pt x="3340" y="659"/>
                  </a:lnTo>
                  <a:lnTo>
                    <a:pt x="3343" y="661"/>
                  </a:lnTo>
                  <a:lnTo>
                    <a:pt x="3346" y="664"/>
                  </a:lnTo>
                  <a:lnTo>
                    <a:pt x="3348" y="667"/>
                  </a:lnTo>
                  <a:lnTo>
                    <a:pt x="3350" y="670"/>
                  </a:lnTo>
                  <a:lnTo>
                    <a:pt x="3351" y="674"/>
                  </a:lnTo>
                  <a:lnTo>
                    <a:pt x="3352" y="678"/>
                  </a:lnTo>
                  <a:lnTo>
                    <a:pt x="3352" y="736"/>
                  </a:lnTo>
                  <a:lnTo>
                    <a:pt x="3351" y="740"/>
                  </a:lnTo>
                  <a:lnTo>
                    <a:pt x="3350" y="744"/>
                  </a:lnTo>
                  <a:lnTo>
                    <a:pt x="3348" y="747"/>
                  </a:lnTo>
                  <a:lnTo>
                    <a:pt x="3346" y="750"/>
                  </a:lnTo>
                  <a:lnTo>
                    <a:pt x="3343" y="753"/>
                  </a:lnTo>
                  <a:lnTo>
                    <a:pt x="3340" y="755"/>
                  </a:lnTo>
                  <a:lnTo>
                    <a:pt x="3336" y="756"/>
                  </a:lnTo>
                  <a:lnTo>
                    <a:pt x="3331" y="757"/>
                  </a:lnTo>
                  <a:lnTo>
                    <a:pt x="2905" y="757"/>
                  </a:lnTo>
                  <a:lnTo>
                    <a:pt x="2901" y="756"/>
                  </a:lnTo>
                  <a:lnTo>
                    <a:pt x="2897" y="755"/>
                  </a:lnTo>
                  <a:lnTo>
                    <a:pt x="2893" y="753"/>
                  </a:lnTo>
                  <a:lnTo>
                    <a:pt x="2891" y="750"/>
                  </a:lnTo>
                  <a:lnTo>
                    <a:pt x="2888" y="747"/>
                  </a:lnTo>
                  <a:lnTo>
                    <a:pt x="2886" y="744"/>
                  </a:lnTo>
                  <a:lnTo>
                    <a:pt x="2885" y="740"/>
                  </a:lnTo>
                  <a:lnTo>
                    <a:pt x="2885" y="736"/>
                  </a:lnTo>
                  <a:lnTo>
                    <a:pt x="2885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7134377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PIC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5375920" y="0"/>
            <a:ext cx="6816080" cy="6777038"/>
          </a:xfrm>
          <a:prstGeom prst="rect">
            <a:avLst/>
          </a:prstGeom>
          <a:blipFill>
            <a:blip r:embed="rId2"/>
            <a:srcRect/>
            <a:stretch>
              <a:fillRect t="-63" b="-6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6763" y="5085230"/>
            <a:ext cx="3889037" cy="936130"/>
          </a:xfrm>
        </p:spPr>
        <p:txBody>
          <a:bodyPr anchor="t" anchorCtr="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CB18748B-A1A6-45E9-A4A1-FBF67E69C8AB}" type="datetime1">
              <a:rPr lang="fi-FI" smtClean="0"/>
              <a:t>31.3.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Presentation name and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50B285B-2D20-4CC2-81CD-215A1F1E1130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2" name="Group 11"/>
          <p:cNvGrpSpPr>
            <a:grpSpLocks noChangeAspect="1"/>
          </p:cNvGrpSpPr>
          <p:nvPr userDrawn="1"/>
        </p:nvGrpSpPr>
        <p:grpSpPr>
          <a:xfrm>
            <a:off x="767260" y="566640"/>
            <a:ext cx="1703100" cy="270000"/>
            <a:chOff x="1455738" y="2698750"/>
            <a:chExt cx="9272588" cy="1470025"/>
          </a:xfrm>
        </p:grpSpPr>
        <p:sp>
          <p:nvSpPr>
            <p:cNvPr id="13" name="Freeform 6"/>
            <p:cNvSpPr>
              <a:spLocks noEditPoints="1"/>
            </p:cNvSpPr>
            <p:nvPr userDrawn="1"/>
          </p:nvSpPr>
          <p:spPr bwMode="auto">
            <a:xfrm>
              <a:off x="1455738" y="2698750"/>
              <a:ext cx="2762250" cy="1416050"/>
            </a:xfrm>
            <a:custGeom>
              <a:avLst/>
              <a:gdLst>
                <a:gd name="T0" fmla="*/ 1740 w 1740"/>
                <a:gd name="T1" fmla="*/ 192 h 892"/>
                <a:gd name="T2" fmla="*/ 1591 w 1740"/>
                <a:gd name="T3" fmla="*/ 483 h 892"/>
                <a:gd name="T4" fmla="*/ 1457 w 1740"/>
                <a:gd name="T5" fmla="*/ 741 h 892"/>
                <a:gd name="T6" fmla="*/ 1047 w 1740"/>
                <a:gd name="T7" fmla="*/ 709 h 892"/>
                <a:gd name="T8" fmla="*/ 607 w 1740"/>
                <a:gd name="T9" fmla="*/ 713 h 892"/>
                <a:gd name="T10" fmla="*/ 257 w 1740"/>
                <a:gd name="T11" fmla="*/ 742 h 892"/>
                <a:gd name="T12" fmla="*/ 149 w 1740"/>
                <a:gd name="T13" fmla="*/ 483 h 892"/>
                <a:gd name="T14" fmla="*/ 0 w 1740"/>
                <a:gd name="T15" fmla="*/ 189 h 892"/>
                <a:gd name="T16" fmla="*/ 36 w 1740"/>
                <a:gd name="T17" fmla="*/ 180 h 892"/>
                <a:gd name="T18" fmla="*/ 121 w 1740"/>
                <a:gd name="T19" fmla="*/ 218 h 892"/>
                <a:gd name="T20" fmla="*/ 194 w 1740"/>
                <a:gd name="T21" fmla="*/ 280 h 892"/>
                <a:gd name="T22" fmla="*/ 249 w 1740"/>
                <a:gd name="T23" fmla="*/ 235 h 892"/>
                <a:gd name="T24" fmla="*/ 335 w 1740"/>
                <a:gd name="T25" fmla="*/ 232 h 892"/>
                <a:gd name="T26" fmla="*/ 390 w 1740"/>
                <a:gd name="T27" fmla="*/ 272 h 892"/>
                <a:gd name="T28" fmla="*/ 362 w 1740"/>
                <a:gd name="T29" fmla="*/ 310 h 892"/>
                <a:gd name="T30" fmla="*/ 334 w 1740"/>
                <a:gd name="T31" fmla="*/ 386 h 892"/>
                <a:gd name="T32" fmla="*/ 344 w 1740"/>
                <a:gd name="T33" fmla="*/ 462 h 892"/>
                <a:gd name="T34" fmla="*/ 405 w 1740"/>
                <a:gd name="T35" fmla="*/ 538 h 892"/>
                <a:gd name="T36" fmla="*/ 492 w 1740"/>
                <a:gd name="T37" fmla="*/ 572 h 892"/>
                <a:gd name="T38" fmla="*/ 590 w 1740"/>
                <a:gd name="T39" fmla="*/ 561 h 892"/>
                <a:gd name="T40" fmla="*/ 658 w 1740"/>
                <a:gd name="T41" fmla="*/ 519 h 892"/>
                <a:gd name="T42" fmla="*/ 706 w 1740"/>
                <a:gd name="T43" fmla="*/ 439 h 892"/>
                <a:gd name="T44" fmla="*/ 704 w 1740"/>
                <a:gd name="T45" fmla="*/ 352 h 892"/>
                <a:gd name="T46" fmla="*/ 653 w 1740"/>
                <a:gd name="T47" fmla="*/ 275 h 892"/>
                <a:gd name="T48" fmla="*/ 596 w 1740"/>
                <a:gd name="T49" fmla="*/ 239 h 892"/>
                <a:gd name="T50" fmla="*/ 615 w 1740"/>
                <a:gd name="T51" fmla="*/ 201 h 892"/>
                <a:gd name="T52" fmla="*/ 678 w 1740"/>
                <a:gd name="T53" fmla="*/ 167 h 892"/>
                <a:gd name="T54" fmla="*/ 760 w 1740"/>
                <a:gd name="T55" fmla="*/ 178 h 892"/>
                <a:gd name="T56" fmla="*/ 790 w 1740"/>
                <a:gd name="T57" fmla="*/ 100 h 892"/>
                <a:gd name="T58" fmla="*/ 822 w 1740"/>
                <a:gd name="T59" fmla="*/ 39 h 892"/>
                <a:gd name="T60" fmla="*/ 871 w 1740"/>
                <a:gd name="T61" fmla="*/ 0 h 892"/>
                <a:gd name="T62" fmla="*/ 920 w 1740"/>
                <a:gd name="T63" fmla="*/ 39 h 892"/>
                <a:gd name="T64" fmla="*/ 962 w 1740"/>
                <a:gd name="T65" fmla="*/ 152 h 892"/>
                <a:gd name="T66" fmla="*/ 1027 w 1740"/>
                <a:gd name="T67" fmla="*/ 165 h 892"/>
                <a:gd name="T68" fmla="*/ 1093 w 1740"/>
                <a:gd name="T69" fmla="*/ 177 h 892"/>
                <a:gd name="T70" fmla="*/ 1145 w 1740"/>
                <a:gd name="T71" fmla="*/ 228 h 892"/>
                <a:gd name="T72" fmla="*/ 1134 w 1740"/>
                <a:gd name="T73" fmla="*/ 245 h 892"/>
                <a:gd name="T74" fmla="*/ 1062 w 1740"/>
                <a:gd name="T75" fmla="*/ 301 h 892"/>
                <a:gd name="T76" fmla="*/ 1033 w 1740"/>
                <a:gd name="T77" fmla="*/ 364 h 892"/>
                <a:gd name="T78" fmla="*/ 1037 w 1740"/>
                <a:gd name="T79" fmla="*/ 447 h 892"/>
                <a:gd name="T80" fmla="*/ 1076 w 1740"/>
                <a:gd name="T81" fmla="*/ 513 h 892"/>
                <a:gd name="T82" fmla="*/ 1159 w 1740"/>
                <a:gd name="T83" fmla="*/ 564 h 892"/>
                <a:gd name="T84" fmla="*/ 1257 w 1740"/>
                <a:gd name="T85" fmla="*/ 570 h 892"/>
                <a:gd name="T86" fmla="*/ 1348 w 1740"/>
                <a:gd name="T87" fmla="*/ 527 h 892"/>
                <a:gd name="T88" fmla="*/ 1393 w 1740"/>
                <a:gd name="T89" fmla="*/ 470 h 892"/>
                <a:gd name="T90" fmla="*/ 1406 w 1740"/>
                <a:gd name="T91" fmla="*/ 386 h 892"/>
                <a:gd name="T92" fmla="*/ 1378 w 1740"/>
                <a:gd name="T93" fmla="*/ 310 h 892"/>
                <a:gd name="T94" fmla="*/ 1350 w 1740"/>
                <a:gd name="T95" fmla="*/ 270 h 892"/>
                <a:gd name="T96" fmla="*/ 1400 w 1740"/>
                <a:gd name="T97" fmla="*/ 234 h 892"/>
                <a:gd name="T98" fmla="*/ 1468 w 1740"/>
                <a:gd name="T99" fmla="*/ 228 h 892"/>
                <a:gd name="T100" fmla="*/ 1530 w 1740"/>
                <a:gd name="T101" fmla="*/ 261 h 892"/>
                <a:gd name="T102" fmla="*/ 1602 w 1740"/>
                <a:gd name="T103" fmla="*/ 232 h 892"/>
                <a:gd name="T104" fmla="*/ 1696 w 1740"/>
                <a:gd name="T105" fmla="*/ 181 h 892"/>
                <a:gd name="T106" fmla="*/ 1458 w 1740"/>
                <a:gd name="T107" fmla="*/ 812 h 892"/>
                <a:gd name="T108" fmla="*/ 1432 w 1740"/>
                <a:gd name="T109" fmla="*/ 892 h 892"/>
                <a:gd name="T110" fmla="*/ 946 w 1740"/>
                <a:gd name="T111" fmla="*/ 861 h 892"/>
                <a:gd name="T112" fmla="*/ 313 w 1740"/>
                <a:gd name="T113" fmla="*/ 892 h 892"/>
                <a:gd name="T114" fmla="*/ 280 w 1740"/>
                <a:gd name="T115" fmla="*/ 816 h 892"/>
                <a:gd name="T116" fmla="*/ 457 w 1740"/>
                <a:gd name="T117" fmla="*/ 790 h 892"/>
                <a:gd name="T118" fmla="*/ 914 w 1740"/>
                <a:gd name="T119" fmla="*/ 772 h 892"/>
                <a:gd name="T120" fmla="*/ 1449 w 1740"/>
                <a:gd name="T121" fmla="*/ 806 h 8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40" h="892">
                  <a:moveTo>
                    <a:pt x="1729" y="178"/>
                  </a:moveTo>
                  <a:lnTo>
                    <a:pt x="1734" y="179"/>
                  </a:lnTo>
                  <a:lnTo>
                    <a:pt x="1735" y="180"/>
                  </a:lnTo>
                  <a:lnTo>
                    <a:pt x="1737" y="181"/>
                  </a:lnTo>
                  <a:lnTo>
                    <a:pt x="1738" y="182"/>
                  </a:lnTo>
                  <a:lnTo>
                    <a:pt x="1739" y="184"/>
                  </a:lnTo>
                  <a:lnTo>
                    <a:pt x="1740" y="186"/>
                  </a:lnTo>
                  <a:lnTo>
                    <a:pt x="1740" y="188"/>
                  </a:lnTo>
                  <a:lnTo>
                    <a:pt x="1740" y="192"/>
                  </a:lnTo>
                  <a:lnTo>
                    <a:pt x="1738" y="194"/>
                  </a:lnTo>
                  <a:lnTo>
                    <a:pt x="1718" y="230"/>
                  </a:lnTo>
                  <a:lnTo>
                    <a:pt x="1698" y="266"/>
                  </a:lnTo>
                  <a:lnTo>
                    <a:pt x="1678" y="302"/>
                  </a:lnTo>
                  <a:lnTo>
                    <a:pt x="1659" y="338"/>
                  </a:lnTo>
                  <a:lnTo>
                    <a:pt x="1641" y="375"/>
                  </a:lnTo>
                  <a:lnTo>
                    <a:pt x="1624" y="411"/>
                  </a:lnTo>
                  <a:lnTo>
                    <a:pt x="1607" y="447"/>
                  </a:lnTo>
                  <a:lnTo>
                    <a:pt x="1591" y="483"/>
                  </a:lnTo>
                  <a:lnTo>
                    <a:pt x="1561" y="552"/>
                  </a:lnTo>
                  <a:lnTo>
                    <a:pt x="1534" y="618"/>
                  </a:lnTo>
                  <a:lnTo>
                    <a:pt x="1510" y="680"/>
                  </a:lnTo>
                  <a:lnTo>
                    <a:pt x="1489" y="736"/>
                  </a:lnTo>
                  <a:lnTo>
                    <a:pt x="1488" y="739"/>
                  </a:lnTo>
                  <a:lnTo>
                    <a:pt x="1485" y="741"/>
                  </a:lnTo>
                  <a:lnTo>
                    <a:pt x="1482" y="743"/>
                  </a:lnTo>
                  <a:lnTo>
                    <a:pt x="1479" y="743"/>
                  </a:lnTo>
                  <a:lnTo>
                    <a:pt x="1457" y="741"/>
                  </a:lnTo>
                  <a:lnTo>
                    <a:pt x="1412" y="736"/>
                  </a:lnTo>
                  <a:lnTo>
                    <a:pt x="1385" y="733"/>
                  </a:lnTo>
                  <a:lnTo>
                    <a:pt x="1356" y="730"/>
                  </a:lnTo>
                  <a:lnTo>
                    <a:pt x="1324" y="727"/>
                  </a:lnTo>
                  <a:lnTo>
                    <a:pt x="1289" y="724"/>
                  </a:lnTo>
                  <a:lnTo>
                    <a:pt x="1214" y="718"/>
                  </a:lnTo>
                  <a:lnTo>
                    <a:pt x="1133" y="713"/>
                  </a:lnTo>
                  <a:lnTo>
                    <a:pt x="1090" y="711"/>
                  </a:lnTo>
                  <a:lnTo>
                    <a:pt x="1047" y="709"/>
                  </a:lnTo>
                  <a:lnTo>
                    <a:pt x="1003" y="708"/>
                  </a:lnTo>
                  <a:lnTo>
                    <a:pt x="959" y="707"/>
                  </a:lnTo>
                  <a:lnTo>
                    <a:pt x="915" y="706"/>
                  </a:lnTo>
                  <a:lnTo>
                    <a:pt x="871" y="706"/>
                  </a:lnTo>
                  <a:lnTo>
                    <a:pt x="826" y="706"/>
                  </a:lnTo>
                  <a:lnTo>
                    <a:pt x="782" y="707"/>
                  </a:lnTo>
                  <a:lnTo>
                    <a:pt x="738" y="708"/>
                  </a:lnTo>
                  <a:lnTo>
                    <a:pt x="693" y="709"/>
                  </a:lnTo>
                  <a:lnTo>
                    <a:pt x="607" y="713"/>
                  </a:lnTo>
                  <a:lnTo>
                    <a:pt x="526" y="718"/>
                  </a:lnTo>
                  <a:lnTo>
                    <a:pt x="488" y="721"/>
                  </a:lnTo>
                  <a:lnTo>
                    <a:pt x="451" y="724"/>
                  </a:lnTo>
                  <a:lnTo>
                    <a:pt x="384" y="730"/>
                  </a:lnTo>
                  <a:lnTo>
                    <a:pt x="328" y="736"/>
                  </a:lnTo>
                  <a:lnTo>
                    <a:pt x="284" y="741"/>
                  </a:lnTo>
                  <a:lnTo>
                    <a:pt x="263" y="743"/>
                  </a:lnTo>
                  <a:lnTo>
                    <a:pt x="259" y="743"/>
                  </a:lnTo>
                  <a:lnTo>
                    <a:pt x="257" y="742"/>
                  </a:lnTo>
                  <a:lnTo>
                    <a:pt x="255" y="741"/>
                  </a:lnTo>
                  <a:lnTo>
                    <a:pt x="254" y="740"/>
                  </a:lnTo>
                  <a:lnTo>
                    <a:pt x="253" y="739"/>
                  </a:lnTo>
                  <a:lnTo>
                    <a:pt x="251" y="736"/>
                  </a:lnTo>
                  <a:lnTo>
                    <a:pt x="230" y="680"/>
                  </a:lnTo>
                  <a:lnTo>
                    <a:pt x="206" y="618"/>
                  </a:lnTo>
                  <a:lnTo>
                    <a:pt x="179" y="552"/>
                  </a:lnTo>
                  <a:lnTo>
                    <a:pt x="164" y="518"/>
                  </a:lnTo>
                  <a:lnTo>
                    <a:pt x="149" y="483"/>
                  </a:lnTo>
                  <a:lnTo>
                    <a:pt x="116" y="411"/>
                  </a:lnTo>
                  <a:lnTo>
                    <a:pt x="99" y="374"/>
                  </a:lnTo>
                  <a:lnTo>
                    <a:pt x="81" y="338"/>
                  </a:lnTo>
                  <a:lnTo>
                    <a:pt x="62" y="302"/>
                  </a:lnTo>
                  <a:lnTo>
                    <a:pt x="42" y="266"/>
                  </a:lnTo>
                  <a:lnTo>
                    <a:pt x="22" y="230"/>
                  </a:lnTo>
                  <a:lnTo>
                    <a:pt x="2" y="194"/>
                  </a:lnTo>
                  <a:lnTo>
                    <a:pt x="1" y="191"/>
                  </a:lnTo>
                  <a:lnTo>
                    <a:pt x="0" y="189"/>
                  </a:lnTo>
                  <a:lnTo>
                    <a:pt x="0" y="186"/>
                  </a:lnTo>
                  <a:lnTo>
                    <a:pt x="2" y="183"/>
                  </a:lnTo>
                  <a:lnTo>
                    <a:pt x="3" y="181"/>
                  </a:lnTo>
                  <a:lnTo>
                    <a:pt x="6" y="179"/>
                  </a:lnTo>
                  <a:lnTo>
                    <a:pt x="8" y="178"/>
                  </a:lnTo>
                  <a:lnTo>
                    <a:pt x="11" y="178"/>
                  </a:lnTo>
                  <a:lnTo>
                    <a:pt x="19" y="178"/>
                  </a:lnTo>
                  <a:lnTo>
                    <a:pt x="28" y="179"/>
                  </a:lnTo>
                  <a:lnTo>
                    <a:pt x="36" y="180"/>
                  </a:lnTo>
                  <a:lnTo>
                    <a:pt x="44" y="181"/>
                  </a:lnTo>
                  <a:lnTo>
                    <a:pt x="52" y="183"/>
                  </a:lnTo>
                  <a:lnTo>
                    <a:pt x="59" y="186"/>
                  </a:lnTo>
                  <a:lnTo>
                    <a:pt x="74" y="191"/>
                  </a:lnTo>
                  <a:lnTo>
                    <a:pt x="82" y="194"/>
                  </a:lnTo>
                  <a:lnTo>
                    <a:pt x="89" y="198"/>
                  </a:lnTo>
                  <a:lnTo>
                    <a:pt x="102" y="205"/>
                  </a:lnTo>
                  <a:lnTo>
                    <a:pt x="115" y="214"/>
                  </a:lnTo>
                  <a:lnTo>
                    <a:pt x="121" y="218"/>
                  </a:lnTo>
                  <a:lnTo>
                    <a:pt x="127" y="223"/>
                  </a:lnTo>
                  <a:lnTo>
                    <a:pt x="133" y="227"/>
                  </a:lnTo>
                  <a:lnTo>
                    <a:pt x="138" y="232"/>
                  </a:lnTo>
                  <a:lnTo>
                    <a:pt x="149" y="241"/>
                  </a:lnTo>
                  <a:lnTo>
                    <a:pt x="167" y="259"/>
                  </a:lnTo>
                  <a:lnTo>
                    <a:pt x="174" y="267"/>
                  </a:lnTo>
                  <a:lnTo>
                    <a:pt x="181" y="275"/>
                  </a:lnTo>
                  <a:lnTo>
                    <a:pt x="190" y="287"/>
                  </a:lnTo>
                  <a:lnTo>
                    <a:pt x="194" y="280"/>
                  </a:lnTo>
                  <a:lnTo>
                    <a:pt x="199" y="273"/>
                  </a:lnTo>
                  <a:lnTo>
                    <a:pt x="204" y="267"/>
                  </a:lnTo>
                  <a:lnTo>
                    <a:pt x="210" y="261"/>
                  </a:lnTo>
                  <a:lnTo>
                    <a:pt x="216" y="256"/>
                  </a:lnTo>
                  <a:lnTo>
                    <a:pt x="222" y="251"/>
                  </a:lnTo>
                  <a:lnTo>
                    <a:pt x="228" y="246"/>
                  </a:lnTo>
                  <a:lnTo>
                    <a:pt x="235" y="242"/>
                  </a:lnTo>
                  <a:lnTo>
                    <a:pt x="242" y="238"/>
                  </a:lnTo>
                  <a:lnTo>
                    <a:pt x="249" y="235"/>
                  </a:lnTo>
                  <a:lnTo>
                    <a:pt x="264" y="230"/>
                  </a:lnTo>
                  <a:lnTo>
                    <a:pt x="272" y="228"/>
                  </a:lnTo>
                  <a:lnTo>
                    <a:pt x="280" y="227"/>
                  </a:lnTo>
                  <a:lnTo>
                    <a:pt x="288" y="226"/>
                  </a:lnTo>
                  <a:lnTo>
                    <a:pt x="296" y="226"/>
                  </a:lnTo>
                  <a:lnTo>
                    <a:pt x="309" y="226"/>
                  </a:lnTo>
                  <a:lnTo>
                    <a:pt x="316" y="227"/>
                  </a:lnTo>
                  <a:lnTo>
                    <a:pt x="322" y="228"/>
                  </a:lnTo>
                  <a:lnTo>
                    <a:pt x="335" y="232"/>
                  </a:lnTo>
                  <a:lnTo>
                    <a:pt x="346" y="236"/>
                  </a:lnTo>
                  <a:lnTo>
                    <a:pt x="358" y="242"/>
                  </a:lnTo>
                  <a:lnTo>
                    <a:pt x="368" y="249"/>
                  </a:lnTo>
                  <a:lnTo>
                    <a:pt x="374" y="253"/>
                  </a:lnTo>
                  <a:lnTo>
                    <a:pt x="378" y="257"/>
                  </a:lnTo>
                  <a:lnTo>
                    <a:pt x="388" y="266"/>
                  </a:lnTo>
                  <a:lnTo>
                    <a:pt x="389" y="268"/>
                  </a:lnTo>
                  <a:lnTo>
                    <a:pt x="390" y="270"/>
                  </a:lnTo>
                  <a:lnTo>
                    <a:pt x="390" y="272"/>
                  </a:lnTo>
                  <a:lnTo>
                    <a:pt x="390" y="274"/>
                  </a:lnTo>
                  <a:lnTo>
                    <a:pt x="390" y="276"/>
                  </a:lnTo>
                  <a:lnTo>
                    <a:pt x="389" y="278"/>
                  </a:lnTo>
                  <a:lnTo>
                    <a:pt x="388" y="280"/>
                  </a:lnTo>
                  <a:lnTo>
                    <a:pt x="387" y="281"/>
                  </a:lnTo>
                  <a:lnTo>
                    <a:pt x="380" y="288"/>
                  </a:lnTo>
                  <a:lnTo>
                    <a:pt x="374" y="295"/>
                  </a:lnTo>
                  <a:lnTo>
                    <a:pt x="368" y="303"/>
                  </a:lnTo>
                  <a:lnTo>
                    <a:pt x="362" y="310"/>
                  </a:lnTo>
                  <a:lnTo>
                    <a:pt x="357" y="318"/>
                  </a:lnTo>
                  <a:lnTo>
                    <a:pt x="353" y="326"/>
                  </a:lnTo>
                  <a:lnTo>
                    <a:pt x="349" y="334"/>
                  </a:lnTo>
                  <a:lnTo>
                    <a:pt x="345" y="342"/>
                  </a:lnTo>
                  <a:lnTo>
                    <a:pt x="342" y="351"/>
                  </a:lnTo>
                  <a:lnTo>
                    <a:pt x="339" y="360"/>
                  </a:lnTo>
                  <a:lnTo>
                    <a:pt x="337" y="368"/>
                  </a:lnTo>
                  <a:lnTo>
                    <a:pt x="335" y="377"/>
                  </a:lnTo>
                  <a:lnTo>
                    <a:pt x="334" y="386"/>
                  </a:lnTo>
                  <a:lnTo>
                    <a:pt x="333" y="395"/>
                  </a:lnTo>
                  <a:lnTo>
                    <a:pt x="333" y="404"/>
                  </a:lnTo>
                  <a:lnTo>
                    <a:pt x="333" y="414"/>
                  </a:lnTo>
                  <a:lnTo>
                    <a:pt x="334" y="422"/>
                  </a:lnTo>
                  <a:lnTo>
                    <a:pt x="335" y="430"/>
                  </a:lnTo>
                  <a:lnTo>
                    <a:pt x="337" y="438"/>
                  </a:lnTo>
                  <a:lnTo>
                    <a:pt x="339" y="446"/>
                  </a:lnTo>
                  <a:lnTo>
                    <a:pt x="342" y="454"/>
                  </a:lnTo>
                  <a:lnTo>
                    <a:pt x="344" y="462"/>
                  </a:lnTo>
                  <a:lnTo>
                    <a:pt x="348" y="470"/>
                  </a:lnTo>
                  <a:lnTo>
                    <a:pt x="351" y="477"/>
                  </a:lnTo>
                  <a:lnTo>
                    <a:pt x="355" y="484"/>
                  </a:lnTo>
                  <a:lnTo>
                    <a:pt x="360" y="491"/>
                  </a:lnTo>
                  <a:lnTo>
                    <a:pt x="369" y="504"/>
                  </a:lnTo>
                  <a:lnTo>
                    <a:pt x="380" y="516"/>
                  </a:lnTo>
                  <a:lnTo>
                    <a:pt x="386" y="522"/>
                  </a:lnTo>
                  <a:lnTo>
                    <a:pt x="392" y="527"/>
                  </a:lnTo>
                  <a:lnTo>
                    <a:pt x="405" y="538"/>
                  </a:lnTo>
                  <a:lnTo>
                    <a:pt x="412" y="542"/>
                  </a:lnTo>
                  <a:lnTo>
                    <a:pt x="419" y="547"/>
                  </a:lnTo>
                  <a:lnTo>
                    <a:pt x="434" y="555"/>
                  </a:lnTo>
                  <a:lnTo>
                    <a:pt x="442" y="558"/>
                  </a:lnTo>
                  <a:lnTo>
                    <a:pt x="450" y="561"/>
                  </a:lnTo>
                  <a:lnTo>
                    <a:pt x="466" y="566"/>
                  </a:lnTo>
                  <a:lnTo>
                    <a:pt x="475" y="569"/>
                  </a:lnTo>
                  <a:lnTo>
                    <a:pt x="484" y="570"/>
                  </a:lnTo>
                  <a:lnTo>
                    <a:pt x="492" y="572"/>
                  </a:lnTo>
                  <a:lnTo>
                    <a:pt x="501" y="573"/>
                  </a:lnTo>
                  <a:lnTo>
                    <a:pt x="519" y="573"/>
                  </a:lnTo>
                  <a:lnTo>
                    <a:pt x="534" y="573"/>
                  </a:lnTo>
                  <a:lnTo>
                    <a:pt x="544" y="572"/>
                  </a:lnTo>
                  <a:lnTo>
                    <a:pt x="553" y="571"/>
                  </a:lnTo>
                  <a:lnTo>
                    <a:pt x="563" y="569"/>
                  </a:lnTo>
                  <a:lnTo>
                    <a:pt x="572" y="567"/>
                  </a:lnTo>
                  <a:lnTo>
                    <a:pt x="581" y="564"/>
                  </a:lnTo>
                  <a:lnTo>
                    <a:pt x="590" y="561"/>
                  </a:lnTo>
                  <a:lnTo>
                    <a:pt x="598" y="558"/>
                  </a:lnTo>
                  <a:lnTo>
                    <a:pt x="607" y="554"/>
                  </a:lnTo>
                  <a:lnTo>
                    <a:pt x="615" y="550"/>
                  </a:lnTo>
                  <a:lnTo>
                    <a:pt x="623" y="546"/>
                  </a:lnTo>
                  <a:lnTo>
                    <a:pt x="630" y="541"/>
                  </a:lnTo>
                  <a:lnTo>
                    <a:pt x="637" y="536"/>
                  </a:lnTo>
                  <a:lnTo>
                    <a:pt x="645" y="531"/>
                  </a:lnTo>
                  <a:lnTo>
                    <a:pt x="651" y="525"/>
                  </a:lnTo>
                  <a:lnTo>
                    <a:pt x="658" y="519"/>
                  </a:lnTo>
                  <a:lnTo>
                    <a:pt x="664" y="513"/>
                  </a:lnTo>
                  <a:lnTo>
                    <a:pt x="670" y="507"/>
                  </a:lnTo>
                  <a:lnTo>
                    <a:pt x="675" y="500"/>
                  </a:lnTo>
                  <a:lnTo>
                    <a:pt x="685" y="486"/>
                  </a:lnTo>
                  <a:lnTo>
                    <a:pt x="690" y="479"/>
                  </a:lnTo>
                  <a:lnTo>
                    <a:pt x="694" y="471"/>
                  </a:lnTo>
                  <a:lnTo>
                    <a:pt x="701" y="455"/>
                  </a:lnTo>
                  <a:lnTo>
                    <a:pt x="703" y="447"/>
                  </a:lnTo>
                  <a:lnTo>
                    <a:pt x="706" y="439"/>
                  </a:lnTo>
                  <a:lnTo>
                    <a:pt x="708" y="430"/>
                  </a:lnTo>
                  <a:lnTo>
                    <a:pt x="709" y="422"/>
                  </a:lnTo>
                  <a:lnTo>
                    <a:pt x="710" y="413"/>
                  </a:lnTo>
                  <a:lnTo>
                    <a:pt x="711" y="405"/>
                  </a:lnTo>
                  <a:lnTo>
                    <a:pt x="711" y="396"/>
                  </a:lnTo>
                  <a:lnTo>
                    <a:pt x="711" y="387"/>
                  </a:lnTo>
                  <a:lnTo>
                    <a:pt x="709" y="375"/>
                  </a:lnTo>
                  <a:lnTo>
                    <a:pt x="707" y="364"/>
                  </a:lnTo>
                  <a:lnTo>
                    <a:pt x="704" y="352"/>
                  </a:lnTo>
                  <a:lnTo>
                    <a:pt x="701" y="341"/>
                  </a:lnTo>
                  <a:lnTo>
                    <a:pt x="696" y="331"/>
                  </a:lnTo>
                  <a:lnTo>
                    <a:pt x="691" y="320"/>
                  </a:lnTo>
                  <a:lnTo>
                    <a:pt x="685" y="310"/>
                  </a:lnTo>
                  <a:lnTo>
                    <a:pt x="678" y="301"/>
                  </a:lnTo>
                  <a:lnTo>
                    <a:pt x="674" y="296"/>
                  </a:lnTo>
                  <a:lnTo>
                    <a:pt x="670" y="292"/>
                  </a:lnTo>
                  <a:lnTo>
                    <a:pt x="662" y="283"/>
                  </a:lnTo>
                  <a:lnTo>
                    <a:pt x="653" y="275"/>
                  </a:lnTo>
                  <a:lnTo>
                    <a:pt x="649" y="271"/>
                  </a:lnTo>
                  <a:lnTo>
                    <a:pt x="644" y="267"/>
                  </a:lnTo>
                  <a:lnTo>
                    <a:pt x="634" y="260"/>
                  </a:lnTo>
                  <a:lnTo>
                    <a:pt x="624" y="254"/>
                  </a:lnTo>
                  <a:lnTo>
                    <a:pt x="612" y="248"/>
                  </a:lnTo>
                  <a:lnTo>
                    <a:pt x="601" y="243"/>
                  </a:lnTo>
                  <a:lnTo>
                    <a:pt x="599" y="242"/>
                  </a:lnTo>
                  <a:lnTo>
                    <a:pt x="597" y="240"/>
                  </a:lnTo>
                  <a:lnTo>
                    <a:pt x="596" y="239"/>
                  </a:lnTo>
                  <a:lnTo>
                    <a:pt x="595" y="237"/>
                  </a:lnTo>
                  <a:lnTo>
                    <a:pt x="594" y="234"/>
                  </a:lnTo>
                  <a:lnTo>
                    <a:pt x="594" y="232"/>
                  </a:lnTo>
                  <a:lnTo>
                    <a:pt x="595" y="230"/>
                  </a:lnTo>
                  <a:lnTo>
                    <a:pt x="595" y="228"/>
                  </a:lnTo>
                  <a:lnTo>
                    <a:pt x="600" y="221"/>
                  </a:lnTo>
                  <a:lnTo>
                    <a:pt x="604" y="214"/>
                  </a:lnTo>
                  <a:lnTo>
                    <a:pt x="610" y="207"/>
                  </a:lnTo>
                  <a:lnTo>
                    <a:pt x="615" y="201"/>
                  </a:lnTo>
                  <a:lnTo>
                    <a:pt x="621" y="196"/>
                  </a:lnTo>
                  <a:lnTo>
                    <a:pt x="627" y="190"/>
                  </a:lnTo>
                  <a:lnTo>
                    <a:pt x="634" y="186"/>
                  </a:lnTo>
                  <a:lnTo>
                    <a:pt x="641" y="181"/>
                  </a:lnTo>
                  <a:lnTo>
                    <a:pt x="648" y="177"/>
                  </a:lnTo>
                  <a:lnTo>
                    <a:pt x="655" y="174"/>
                  </a:lnTo>
                  <a:lnTo>
                    <a:pt x="663" y="171"/>
                  </a:lnTo>
                  <a:lnTo>
                    <a:pt x="670" y="169"/>
                  </a:lnTo>
                  <a:lnTo>
                    <a:pt x="678" y="167"/>
                  </a:lnTo>
                  <a:lnTo>
                    <a:pt x="686" y="165"/>
                  </a:lnTo>
                  <a:lnTo>
                    <a:pt x="695" y="164"/>
                  </a:lnTo>
                  <a:lnTo>
                    <a:pt x="703" y="164"/>
                  </a:lnTo>
                  <a:lnTo>
                    <a:pt x="713" y="165"/>
                  </a:lnTo>
                  <a:lnTo>
                    <a:pt x="722" y="166"/>
                  </a:lnTo>
                  <a:lnTo>
                    <a:pt x="733" y="168"/>
                  </a:lnTo>
                  <a:lnTo>
                    <a:pt x="742" y="170"/>
                  </a:lnTo>
                  <a:lnTo>
                    <a:pt x="751" y="174"/>
                  </a:lnTo>
                  <a:lnTo>
                    <a:pt x="760" y="178"/>
                  </a:lnTo>
                  <a:lnTo>
                    <a:pt x="768" y="182"/>
                  </a:lnTo>
                  <a:lnTo>
                    <a:pt x="776" y="188"/>
                  </a:lnTo>
                  <a:lnTo>
                    <a:pt x="777" y="173"/>
                  </a:lnTo>
                  <a:lnTo>
                    <a:pt x="778" y="163"/>
                  </a:lnTo>
                  <a:lnTo>
                    <a:pt x="779" y="152"/>
                  </a:lnTo>
                  <a:lnTo>
                    <a:pt x="781" y="140"/>
                  </a:lnTo>
                  <a:lnTo>
                    <a:pt x="783" y="127"/>
                  </a:lnTo>
                  <a:lnTo>
                    <a:pt x="786" y="114"/>
                  </a:lnTo>
                  <a:lnTo>
                    <a:pt x="790" y="100"/>
                  </a:lnTo>
                  <a:lnTo>
                    <a:pt x="795" y="86"/>
                  </a:lnTo>
                  <a:lnTo>
                    <a:pt x="798" y="79"/>
                  </a:lnTo>
                  <a:lnTo>
                    <a:pt x="801" y="72"/>
                  </a:lnTo>
                  <a:lnTo>
                    <a:pt x="805" y="66"/>
                  </a:lnTo>
                  <a:lnTo>
                    <a:pt x="808" y="59"/>
                  </a:lnTo>
                  <a:lnTo>
                    <a:pt x="812" y="52"/>
                  </a:lnTo>
                  <a:lnTo>
                    <a:pt x="815" y="49"/>
                  </a:lnTo>
                  <a:lnTo>
                    <a:pt x="817" y="46"/>
                  </a:lnTo>
                  <a:lnTo>
                    <a:pt x="822" y="39"/>
                  </a:lnTo>
                  <a:lnTo>
                    <a:pt x="827" y="33"/>
                  </a:lnTo>
                  <a:lnTo>
                    <a:pt x="832" y="27"/>
                  </a:lnTo>
                  <a:lnTo>
                    <a:pt x="838" y="21"/>
                  </a:lnTo>
                  <a:lnTo>
                    <a:pt x="844" y="16"/>
                  </a:lnTo>
                  <a:lnTo>
                    <a:pt x="851" y="11"/>
                  </a:lnTo>
                  <a:lnTo>
                    <a:pt x="858" y="6"/>
                  </a:lnTo>
                  <a:lnTo>
                    <a:pt x="865" y="1"/>
                  </a:lnTo>
                  <a:lnTo>
                    <a:pt x="868" y="0"/>
                  </a:lnTo>
                  <a:lnTo>
                    <a:pt x="871" y="0"/>
                  </a:lnTo>
                  <a:lnTo>
                    <a:pt x="873" y="0"/>
                  </a:lnTo>
                  <a:lnTo>
                    <a:pt x="876" y="1"/>
                  </a:lnTo>
                  <a:lnTo>
                    <a:pt x="883" y="6"/>
                  </a:lnTo>
                  <a:lnTo>
                    <a:pt x="891" y="11"/>
                  </a:lnTo>
                  <a:lnTo>
                    <a:pt x="897" y="16"/>
                  </a:lnTo>
                  <a:lnTo>
                    <a:pt x="903" y="21"/>
                  </a:lnTo>
                  <a:lnTo>
                    <a:pt x="909" y="27"/>
                  </a:lnTo>
                  <a:lnTo>
                    <a:pt x="915" y="33"/>
                  </a:lnTo>
                  <a:lnTo>
                    <a:pt x="920" y="39"/>
                  </a:lnTo>
                  <a:lnTo>
                    <a:pt x="924" y="46"/>
                  </a:lnTo>
                  <a:lnTo>
                    <a:pt x="933" y="59"/>
                  </a:lnTo>
                  <a:lnTo>
                    <a:pt x="940" y="72"/>
                  </a:lnTo>
                  <a:lnTo>
                    <a:pt x="946" y="86"/>
                  </a:lnTo>
                  <a:lnTo>
                    <a:pt x="951" y="100"/>
                  </a:lnTo>
                  <a:lnTo>
                    <a:pt x="955" y="114"/>
                  </a:lnTo>
                  <a:lnTo>
                    <a:pt x="958" y="127"/>
                  </a:lnTo>
                  <a:lnTo>
                    <a:pt x="961" y="140"/>
                  </a:lnTo>
                  <a:lnTo>
                    <a:pt x="962" y="152"/>
                  </a:lnTo>
                  <a:lnTo>
                    <a:pt x="964" y="173"/>
                  </a:lnTo>
                  <a:lnTo>
                    <a:pt x="965" y="188"/>
                  </a:lnTo>
                  <a:lnTo>
                    <a:pt x="973" y="182"/>
                  </a:lnTo>
                  <a:lnTo>
                    <a:pt x="981" y="178"/>
                  </a:lnTo>
                  <a:lnTo>
                    <a:pt x="990" y="174"/>
                  </a:lnTo>
                  <a:lnTo>
                    <a:pt x="999" y="170"/>
                  </a:lnTo>
                  <a:lnTo>
                    <a:pt x="1008" y="168"/>
                  </a:lnTo>
                  <a:lnTo>
                    <a:pt x="1018" y="166"/>
                  </a:lnTo>
                  <a:lnTo>
                    <a:pt x="1027" y="165"/>
                  </a:lnTo>
                  <a:lnTo>
                    <a:pt x="1037" y="164"/>
                  </a:lnTo>
                  <a:lnTo>
                    <a:pt x="1046" y="164"/>
                  </a:lnTo>
                  <a:lnTo>
                    <a:pt x="1054" y="165"/>
                  </a:lnTo>
                  <a:lnTo>
                    <a:pt x="1058" y="166"/>
                  </a:lnTo>
                  <a:lnTo>
                    <a:pt x="1062" y="167"/>
                  </a:lnTo>
                  <a:lnTo>
                    <a:pt x="1070" y="169"/>
                  </a:lnTo>
                  <a:lnTo>
                    <a:pt x="1078" y="171"/>
                  </a:lnTo>
                  <a:lnTo>
                    <a:pt x="1085" y="174"/>
                  </a:lnTo>
                  <a:lnTo>
                    <a:pt x="1093" y="177"/>
                  </a:lnTo>
                  <a:lnTo>
                    <a:pt x="1100" y="181"/>
                  </a:lnTo>
                  <a:lnTo>
                    <a:pt x="1107" y="186"/>
                  </a:lnTo>
                  <a:lnTo>
                    <a:pt x="1113" y="190"/>
                  </a:lnTo>
                  <a:lnTo>
                    <a:pt x="1119" y="196"/>
                  </a:lnTo>
                  <a:lnTo>
                    <a:pt x="1125" y="201"/>
                  </a:lnTo>
                  <a:lnTo>
                    <a:pt x="1131" y="207"/>
                  </a:lnTo>
                  <a:lnTo>
                    <a:pt x="1136" y="214"/>
                  </a:lnTo>
                  <a:lnTo>
                    <a:pt x="1141" y="221"/>
                  </a:lnTo>
                  <a:lnTo>
                    <a:pt x="1145" y="228"/>
                  </a:lnTo>
                  <a:lnTo>
                    <a:pt x="1146" y="230"/>
                  </a:lnTo>
                  <a:lnTo>
                    <a:pt x="1146" y="232"/>
                  </a:lnTo>
                  <a:lnTo>
                    <a:pt x="1146" y="234"/>
                  </a:lnTo>
                  <a:lnTo>
                    <a:pt x="1146" y="237"/>
                  </a:lnTo>
                  <a:lnTo>
                    <a:pt x="1145" y="239"/>
                  </a:lnTo>
                  <a:lnTo>
                    <a:pt x="1143" y="240"/>
                  </a:lnTo>
                  <a:lnTo>
                    <a:pt x="1141" y="242"/>
                  </a:lnTo>
                  <a:lnTo>
                    <a:pt x="1139" y="243"/>
                  </a:lnTo>
                  <a:lnTo>
                    <a:pt x="1134" y="245"/>
                  </a:lnTo>
                  <a:lnTo>
                    <a:pt x="1128" y="248"/>
                  </a:lnTo>
                  <a:lnTo>
                    <a:pt x="1117" y="254"/>
                  </a:lnTo>
                  <a:lnTo>
                    <a:pt x="1106" y="260"/>
                  </a:lnTo>
                  <a:lnTo>
                    <a:pt x="1096" y="267"/>
                  </a:lnTo>
                  <a:lnTo>
                    <a:pt x="1087" y="275"/>
                  </a:lnTo>
                  <a:lnTo>
                    <a:pt x="1082" y="279"/>
                  </a:lnTo>
                  <a:lnTo>
                    <a:pt x="1078" y="283"/>
                  </a:lnTo>
                  <a:lnTo>
                    <a:pt x="1070" y="292"/>
                  </a:lnTo>
                  <a:lnTo>
                    <a:pt x="1062" y="301"/>
                  </a:lnTo>
                  <a:lnTo>
                    <a:pt x="1056" y="310"/>
                  </a:lnTo>
                  <a:lnTo>
                    <a:pt x="1053" y="315"/>
                  </a:lnTo>
                  <a:lnTo>
                    <a:pt x="1050" y="320"/>
                  </a:lnTo>
                  <a:lnTo>
                    <a:pt x="1044" y="331"/>
                  </a:lnTo>
                  <a:lnTo>
                    <a:pt x="1042" y="336"/>
                  </a:lnTo>
                  <a:lnTo>
                    <a:pt x="1040" y="341"/>
                  </a:lnTo>
                  <a:lnTo>
                    <a:pt x="1038" y="347"/>
                  </a:lnTo>
                  <a:lnTo>
                    <a:pt x="1036" y="352"/>
                  </a:lnTo>
                  <a:lnTo>
                    <a:pt x="1033" y="364"/>
                  </a:lnTo>
                  <a:lnTo>
                    <a:pt x="1031" y="375"/>
                  </a:lnTo>
                  <a:lnTo>
                    <a:pt x="1030" y="387"/>
                  </a:lnTo>
                  <a:lnTo>
                    <a:pt x="1029" y="396"/>
                  </a:lnTo>
                  <a:lnTo>
                    <a:pt x="1029" y="405"/>
                  </a:lnTo>
                  <a:lnTo>
                    <a:pt x="1030" y="413"/>
                  </a:lnTo>
                  <a:lnTo>
                    <a:pt x="1031" y="422"/>
                  </a:lnTo>
                  <a:lnTo>
                    <a:pt x="1032" y="430"/>
                  </a:lnTo>
                  <a:lnTo>
                    <a:pt x="1034" y="439"/>
                  </a:lnTo>
                  <a:lnTo>
                    <a:pt x="1037" y="447"/>
                  </a:lnTo>
                  <a:lnTo>
                    <a:pt x="1040" y="455"/>
                  </a:lnTo>
                  <a:lnTo>
                    <a:pt x="1043" y="464"/>
                  </a:lnTo>
                  <a:lnTo>
                    <a:pt x="1047" y="471"/>
                  </a:lnTo>
                  <a:lnTo>
                    <a:pt x="1051" y="479"/>
                  </a:lnTo>
                  <a:lnTo>
                    <a:pt x="1055" y="486"/>
                  </a:lnTo>
                  <a:lnTo>
                    <a:pt x="1060" y="493"/>
                  </a:lnTo>
                  <a:lnTo>
                    <a:pt x="1065" y="500"/>
                  </a:lnTo>
                  <a:lnTo>
                    <a:pt x="1070" y="507"/>
                  </a:lnTo>
                  <a:lnTo>
                    <a:pt x="1076" y="513"/>
                  </a:lnTo>
                  <a:lnTo>
                    <a:pt x="1082" y="519"/>
                  </a:lnTo>
                  <a:lnTo>
                    <a:pt x="1089" y="525"/>
                  </a:lnTo>
                  <a:lnTo>
                    <a:pt x="1103" y="536"/>
                  </a:lnTo>
                  <a:lnTo>
                    <a:pt x="1110" y="541"/>
                  </a:lnTo>
                  <a:lnTo>
                    <a:pt x="1118" y="546"/>
                  </a:lnTo>
                  <a:lnTo>
                    <a:pt x="1134" y="554"/>
                  </a:lnTo>
                  <a:lnTo>
                    <a:pt x="1142" y="558"/>
                  </a:lnTo>
                  <a:lnTo>
                    <a:pt x="1151" y="561"/>
                  </a:lnTo>
                  <a:lnTo>
                    <a:pt x="1159" y="564"/>
                  </a:lnTo>
                  <a:lnTo>
                    <a:pt x="1168" y="567"/>
                  </a:lnTo>
                  <a:lnTo>
                    <a:pt x="1178" y="569"/>
                  </a:lnTo>
                  <a:lnTo>
                    <a:pt x="1187" y="571"/>
                  </a:lnTo>
                  <a:lnTo>
                    <a:pt x="1196" y="572"/>
                  </a:lnTo>
                  <a:lnTo>
                    <a:pt x="1206" y="573"/>
                  </a:lnTo>
                  <a:lnTo>
                    <a:pt x="1221" y="573"/>
                  </a:lnTo>
                  <a:lnTo>
                    <a:pt x="1239" y="573"/>
                  </a:lnTo>
                  <a:lnTo>
                    <a:pt x="1248" y="572"/>
                  </a:lnTo>
                  <a:lnTo>
                    <a:pt x="1257" y="570"/>
                  </a:lnTo>
                  <a:lnTo>
                    <a:pt x="1274" y="566"/>
                  </a:lnTo>
                  <a:lnTo>
                    <a:pt x="1290" y="561"/>
                  </a:lnTo>
                  <a:lnTo>
                    <a:pt x="1306" y="555"/>
                  </a:lnTo>
                  <a:lnTo>
                    <a:pt x="1314" y="551"/>
                  </a:lnTo>
                  <a:lnTo>
                    <a:pt x="1321" y="547"/>
                  </a:lnTo>
                  <a:lnTo>
                    <a:pt x="1328" y="542"/>
                  </a:lnTo>
                  <a:lnTo>
                    <a:pt x="1335" y="538"/>
                  </a:lnTo>
                  <a:lnTo>
                    <a:pt x="1342" y="533"/>
                  </a:lnTo>
                  <a:lnTo>
                    <a:pt x="1348" y="527"/>
                  </a:lnTo>
                  <a:lnTo>
                    <a:pt x="1354" y="522"/>
                  </a:lnTo>
                  <a:lnTo>
                    <a:pt x="1360" y="516"/>
                  </a:lnTo>
                  <a:lnTo>
                    <a:pt x="1366" y="510"/>
                  </a:lnTo>
                  <a:lnTo>
                    <a:pt x="1371" y="504"/>
                  </a:lnTo>
                  <a:lnTo>
                    <a:pt x="1376" y="498"/>
                  </a:lnTo>
                  <a:lnTo>
                    <a:pt x="1381" y="491"/>
                  </a:lnTo>
                  <a:lnTo>
                    <a:pt x="1385" y="484"/>
                  </a:lnTo>
                  <a:lnTo>
                    <a:pt x="1389" y="477"/>
                  </a:lnTo>
                  <a:lnTo>
                    <a:pt x="1393" y="470"/>
                  </a:lnTo>
                  <a:lnTo>
                    <a:pt x="1396" y="462"/>
                  </a:lnTo>
                  <a:lnTo>
                    <a:pt x="1401" y="446"/>
                  </a:lnTo>
                  <a:lnTo>
                    <a:pt x="1403" y="438"/>
                  </a:lnTo>
                  <a:lnTo>
                    <a:pt x="1405" y="430"/>
                  </a:lnTo>
                  <a:lnTo>
                    <a:pt x="1406" y="422"/>
                  </a:lnTo>
                  <a:lnTo>
                    <a:pt x="1407" y="414"/>
                  </a:lnTo>
                  <a:lnTo>
                    <a:pt x="1407" y="404"/>
                  </a:lnTo>
                  <a:lnTo>
                    <a:pt x="1407" y="395"/>
                  </a:lnTo>
                  <a:lnTo>
                    <a:pt x="1406" y="386"/>
                  </a:lnTo>
                  <a:lnTo>
                    <a:pt x="1405" y="377"/>
                  </a:lnTo>
                  <a:lnTo>
                    <a:pt x="1404" y="368"/>
                  </a:lnTo>
                  <a:lnTo>
                    <a:pt x="1401" y="360"/>
                  </a:lnTo>
                  <a:lnTo>
                    <a:pt x="1399" y="351"/>
                  </a:lnTo>
                  <a:lnTo>
                    <a:pt x="1395" y="342"/>
                  </a:lnTo>
                  <a:lnTo>
                    <a:pt x="1392" y="334"/>
                  </a:lnTo>
                  <a:lnTo>
                    <a:pt x="1388" y="326"/>
                  </a:lnTo>
                  <a:lnTo>
                    <a:pt x="1383" y="318"/>
                  </a:lnTo>
                  <a:lnTo>
                    <a:pt x="1378" y="310"/>
                  </a:lnTo>
                  <a:lnTo>
                    <a:pt x="1372" y="303"/>
                  </a:lnTo>
                  <a:lnTo>
                    <a:pt x="1366" y="295"/>
                  </a:lnTo>
                  <a:lnTo>
                    <a:pt x="1360" y="288"/>
                  </a:lnTo>
                  <a:lnTo>
                    <a:pt x="1353" y="281"/>
                  </a:lnTo>
                  <a:lnTo>
                    <a:pt x="1352" y="280"/>
                  </a:lnTo>
                  <a:lnTo>
                    <a:pt x="1351" y="278"/>
                  </a:lnTo>
                  <a:lnTo>
                    <a:pt x="1350" y="276"/>
                  </a:lnTo>
                  <a:lnTo>
                    <a:pt x="1350" y="274"/>
                  </a:lnTo>
                  <a:lnTo>
                    <a:pt x="1350" y="270"/>
                  </a:lnTo>
                  <a:lnTo>
                    <a:pt x="1353" y="266"/>
                  </a:lnTo>
                  <a:lnTo>
                    <a:pt x="1357" y="262"/>
                  </a:lnTo>
                  <a:lnTo>
                    <a:pt x="1362" y="257"/>
                  </a:lnTo>
                  <a:lnTo>
                    <a:pt x="1367" y="253"/>
                  </a:lnTo>
                  <a:lnTo>
                    <a:pt x="1372" y="249"/>
                  </a:lnTo>
                  <a:lnTo>
                    <a:pt x="1383" y="242"/>
                  </a:lnTo>
                  <a:lnTo>
                    <a:pt x="1388" y="239"/>
                  </a:lnTo>
                  <a:lnTo>
                    <a:pt x="1394" y="236"/>
                  </a:lnTo>
                  <a:lnTo>
                    <a:pt x="1400" y="234"/>
                  </a:lnTo>
                  <a:lnTo>
                    <a:pt x="1406" y="232"/>
                  </a:lnTo>
                  <a:lnTo>
                    <a:pt x="1412" y="230"/>
                  </a:lnTo>
                  <a:lnTo>
                    <a:pt x="1418" y="228"/>
                  </a:lnTo>
                  <a:lnTo>
                    <a:pt x="1424" y="227"/>
                  </a:lnTo>
                  <a:lnTo>
                    <a:pt x="1431" y="226"/>
                  </a:lnTo>
                  <a:lnTo>
                    <a:pt x="1444" y="226"/>
                  </a:lnTo>
                  <a:lnTo>
                    <a:pt x="1452" y="226"/>
                  </a:lnTo>
                  <a:lnTo>
                    <a:pt x="1460" y="227"/>
                  </a:lnTo>
                  <a:lnTo>
                    <a:pt x="1468" y="228"/>
                  </a:lnTo>
                  <a:lnTo>
                    <a:pt x="1476" y="230"/>
                  </a:lnTo>
                  <a:lnTo>
                    <a:pt x="1483" y="232"/>
                  </a:lnTo>
                  <a:lnTo>
                    <a:pt x="1491" y="235"/>
                  </a:lnTo>
                  <a:lnTo>
                    <a:pt x="1498" y="238"/>
                  </a:lnTo>
                  <a:lnTo>
                    <a:pt x="1505" y="242"/>
                  </a:lnTo>
                  <a:lnTo>
                    <a:pt x="1512" y="246"/>
                  </a:lnTo>
                  <a:lnTo>
                    <a:pt x="1518" y="251"/>
                  </a:lnTo>
                  <a:lnTo>
                    <a:pt x="1525" y="256"/>
                  </a:lnTo>
                  <a:lnTo>
                    <a:pt x="1530" y="261"/>
                  </a:lnTo>
                  <a:lnTo>
                    <a:pt x="1536" y="267"/>
                  </a:lnTo>
                  <a:lnTo>
                    <a:pt x="1541" y="273"/>
                  </a:lnTo>
                  <a:lnTo>
                    <a:pt x="1546" y="280"/>
                  </a:lnTo>
                  <a:lnTo>
                    <a:pt x="1550" y="287"/>
                  </a:lnTo>
                  <a:lnTo>
                    <a:pt x="1560" y="275"/>
                  </a:lnTo>
                  <a:lnTo>
                    <a:pt x="1574" y="259"/>
                  </a:lnTo>
                  <a:lnTo>
                    <a:pt x="1582" y="250"/>
                  </a:lnTo>
                  <a:lnTo>
                    <a:pt x="1591" y="241"/>
                  </a:lnTo>
                  <a:lnTo>
                    <a:pt x="1602" y="232"/>
                  </a:lnTo>
                  <a:lnTo>
                    <a:pt x="1613" y="223"/>
                  </a:lnTo>
                  <a:lnTo>
                    <a:pt x="1625" y="214"/>
                  </a:lnTo>
                  <a:lnTo>
                    <a:pt x="1638" y="205"/>
                  </a:lnTo>
                  <a:lnTo>
                    <a:pt x="1651" y="198"/>
                  </a:lnTo>
                  <a:lnTo>
                    <a:pt x="1666" y="191"/>
                  </a:lnTo>
                  <a:lnTo>
                    <a:pt x="1673" y="188"/>
                  </a:lnTo>
                  <a:lnTo>
                    <a:pt x="1681" y="186"/>
                  </a:lnTo>
                  <a:lnTo>
                    <a:pt x="1688" y="183"/>
                  </a:lnTo>
                  <a:lnTo>
                    <a:pt x="1696" y="181"/>
                  </a:lnTo>
                  <a:lnTo>
                    <a:pt x="1704" y="180"/>
                  </a:lnTo>
                  <a:lnTo>
                    <a:pt x="1712" y="179"/>
                  </a:lnTo>
                  <a:lnTo>
                    <a:pt x="1720" y="178"/>
                  </a:lnTo>
                  <a:lnTo>
                    <a:pt x="1729" y="178"/>
                  </a:lnTo>
                  <a:close/>
                  <a:moveTo>
                    <a:pt x="1450" y="807"/>
                  </a:moveTo>
                  <a:lnTo>
                    <a:pt x="1453" y="807"/>
                  </a:lnTo>
                  <a:lnTo>
                    <a:pt x="1455" y="808"/>
                  </a:lnTo>
                  <a:lnTo>
                    <a:pt x="1457" y="810"/>
                  </a:lnTo>
                  <a:lnTo>
                    <a:pt x="1458" y="812"/>
                  </a:lnTo>
                  <a:lnTo>
                    <a:pt x="1459" y="814"/>
                  </a:lnTo>
                  <a:lnTo>
                    <a:pt x="1460" y="816"/>
                  </a:lnTo>
                  <a:lnTo>
                    <a:pt x="1460" y="819"/>
                  </a:lnTo>
                  <a:lnTo>
                    <a:pt x="1459" y="821"/>
                  </a:lnTo>
                  <a:lnTo>
                    <a:pt x="1439" y="885"/>
                  </a:lnTo>
                  <a:lnTo>
                    <a:pt x="1438" y="886"/>
                  </a:lnTo>
                  <a:lnTo>
                    <a:pt x="1437" y="888"/>
                  </a:lnTo>
                  <a:lnTo>
                    <a:pt x="1435" y="890"/>
                  </a:lnTo>
                  <a:lnTo>
                    <a:pt x="1432" y="892"/>
                  </a:lnTo>
                  <a:lnTo>
                    <a:pt x="1428" y="892"/>
                  </a:lnTo>
                  <a:lnTo>
                    <a:pt x="1374" y="887"/>
                  </a:lnTo>
                  <a:lnTo>
                    <a:pt x="1313" y="881"/>
                  </a:lnTo>
                  <a:lnTo>
                    <a:pt x="1245" y="876"/>
                  </a:lnTo>
                  <a:lnTo>
                    <a:pt x="1174" y="871"/>
                  </a:lnTo>
                  <a:lnTo>
                    <a:pt x="1099" y="867"/>
                  </a:lnTo>
                  <a:lnTo>
                    <a:pt x="1023" y="863"/>
                  </a:lnTo>
                  <a:lnTo>
                    <a:pt x="984" y="862"/>
                  </a:lnTo>
                  <a:lnTo>
                    <a:pt x="946" y="861"/>
                  </a:lnTo>
                  <a:lnTo>
                    <a:pt x="871" y="861"/>
                  </a:lnTo>
                  <a:lnTo>
                    <a:pt x="795" y="861"/>
                  </a:lnTo>
                  <a:lnTo>
                    <a:pt x="718" y="863"/>
                  </a:lnTo>
                  <a:lnTo>
                    <a:pt x="641" y="867"/>
                  </a:lnTo>
                  <a:lnTo>
                    <a:pt x="567" y="871"/>
                  </a:lnTo>
                  <a:lnTo>
                    <a:pt x="495" y="876"/>
                  </a:lnTo>
                  <a:lnTo>
                    <a:pt x="428" y="881"/>
                  </a:lnTo>
                  <a:lnTo>
                    <a:pt x="367" y="887"/>
                  </a:lnTo>
                  <a:lnTo>
                    <a:pt x="313" y="892"/>
                  </a:lnTo>
                  <a:lnTo>
                    <a:pt x="309" y="892"/>
                  </a:lnTo>
                  <a:lnTo>
                    <a:pt x="307" y="891"/>
                  </a:lnTo>
                  <a:lnTo>
                    <a:pt x="306" y="890"/>
                  </a:lnTo>
                  <a:lnTo>
                    <a:pt x="303" y="888"/>
                  </a:lnTo>
                  <a:lnTo>
                    <a:pt x="302" y="885"/>
                  </a:lnTo>
                  <a:lnTo>
                    <a:pt x="292" y="854"/>
                  </a:lnTo>
                  <a:lnTo>
                    <a:pt x="281" y="821"/>
                  </a:lnTo>
                  <a:lnTo>
                    <a:pt x="280" y="819"/>
                  </a:lnTo>
                  <a:lnTo>
                    <a:pt x="280" y="816"/>
                  </a:lnTo>
                  <a:lnTo>
                    <a:pt x="282" y="812"/>
                  </a:lnTo>
                  <a:lnTo>
                    <a:pt x="283" y="810"/>
                  </a:lnTo>
                  <a:lnTo>
                    <a:pt x="285" y="808"/>
                  </a:lnTo>
                  <a:lnTo>
                    <a:pt x="287" y="807"/>
                  </a:lnTo>
                  <a:lnTo>
                    <a:pt x="290" y="807"/>
                  </a:lnTo>
                  <a:lnTo>
                    <a:pt x="292" y="806"/>
                  </a:lnTo>
                  <a:lnTo>
                    <a:pt x="335" y="802"/>
                  </a:lnTo>
                  <a:lnTo>
                    <a:pt x="391" y="796"/>
                  </a:lnTo>
                  <a:lnTo>
                    <a:pt x="457" y="790"/>
                  </a:lnTo>
                  <a:lnTo>
                    <a:pt x="531" y="785"/>
                  </a:lnTo>
                  <a:lnTo>
                    <a:pt x="611" y="780"/>
                  </a:lnTo>
                  <a:lnTo>
                    <a:pt x="653" y="778"/>
                  </a:lnTo>
                  <a:lnTo>
                    <a:pt x="696" y="776"/>
                  </a:lnTo>
                  <a:lnTo>
                    <a:pt x="740" y="774"/>
                  </a:lnTo>
                  <a:lnTo>
                    <a:pt x="783" y="773"/>
                  </a:lnTo>
                  <a:lnTo>
                    <a:pt x="827" y="772"/>
                  </a:lnTo>
                  <a:lnTo>
                    <a:pt x="871" y="772"/>
                  </a:lnTo>
                  <a:lnTo>
                    <a:pt x="914" y="772"/>
                  </a:lnTo>
                  <a:lnTo>
                    <a:pt x="958" y="773"/>
                  </a:lnTo>
                  <a:lnTo>
                    <a:pt x="1001" y="774"/>
                  </a:lnTo>
                  <a:lnTo>
                    <a:pt x="1045" y="776"/>
                  </a:lnTo>
                  <a:lnTo>
                    <a:pt x="1129" y="780"/>
                  </a:lnTo>
                  <a:lnTo>
                    <a:pt x="1209" y="785"/>
                  </a:lnTo>
                  <a:lnTo>
                    <a:pt x="1283" y="790"/>
                  </a:lnTo>
                  <a:lnTo>
                    <a:pt x="1349" y="796"/>
                  </a:lnTo>
                  <a:lnTo>
                    <a:pt x="1405" y="802"/>
                  </a:lnTo>
                  <a:lnTo>
                    <a:pt x="1449" y="806"/>
                  </a:lnTo>
                  <a:lnTo>
                    <a:pt x="1450" y="807"/>
                  </a:lnTo>
                  <a:close/>
                </a:path>
              </a:pathLst>
            </a:custGeom>
            <a:solidFill>
              <a:srgbClr val="FD9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auto">
            <a:xfrm>
              <a:off x="4287838" y="2951163"/>
              <a:ext cx="6440488" cy="1217612"/>
            </a:xfrm>
            <a:custGeom>
              <a:avLst/>
              <a:gdLst>
                <a:gd name="T0" fmla="*/ 3533 w 4057"/>
                <a:gd name="T1" fmla="*/ 11 h 767"/>
                <a:gd name="T2" fmla="*/ 3620 w 4057"/>
                <a:gd name="T3" fmla="*/ 37 h 767"/>
                <a:gd name="T4" fmla="*/ 4033 w 4057"/>
                <a:gd name="T5" fmla="*/ 15 h 767"/>
                <a:gd name="T6" fmla="*/ 4055 w 4057"/>
                <a:gd name="T7" fmla="*/ 724 h 767"/>
                <a:gd name="T8" fmla="*/ 4042 w 4057"/>
                <a:gd name="T9" fmla="*/ 755 h 767"/>
                <a:gd name="T10" fmla="*/ 3620 w 4057"/>
                <a:gd name="T11" fmla="*/ 736 h 767"/>
                <a:gd name="T12" fmla="*/ 3528 w 4057"/>
                <a:gd name="T13" fmla="*/ 756 h 767"/>
                <a:gd name="T14" fmla="*/ 330 w 4057"/>
                <a:gd name="T15" fmla="*/ 10 h 767"/>
                <a:gd name="T16" fmla="*/ 367 w 4057"/>
                <a:gd name="T17" fmla="*/ 4 h 767"/>
                <a:gd name="T18" fmla="*/ 693 w 4057"/>
                <a:gd name="T19" fmla="*/ 754 h 767"/>
                <a:gd name="T20" fmla="*/ 593 w 4057"/>
                <a:gd name="T21" fmla="*/ 744 h 767"/>
                <a:gd name="T22" fmla="*/ 21 w 4057"/>
                <a:gd name="T23" fmla="*/ 757 h 767"/>
                <a:gd name="T24" fmla="*/ 2 w 4057"/>
                <a:gd name="T25" fmla="*/ 729 h 767"/>
                <a:gd name="T26" fmla="*/ 827 w 4057"/>
                <a:gd name="T27" fmla="*/ 13 h 767"/>
                <a:gd name="T28" fmla="*/ 1180 w 4057"/>
                <a:gd name="T29" fmla="*/ 34 h 767"/>
                <a:gd name="T30" fmla="*/ 1281 w 4057"/>
                <a:gd name="T31" fmla="*/ 125 h 767"/>
                <a:gd name="T32" fmla="*/ 1315 w 4057"/>
                <a:gd name="T33" fmla="*/ 258 h 767"/>
                <a:gd name="T34" fmla="*/ 1268 w 4057"/>
                <a:gd name="T35" fmla="*/ 390 h 767"/>
                <a:gd name="T36" fmla="*/ 1159 w 4057"/>
                <a:gd name="T37" fmla="*/ 472 h 767"/>
                <a:gd name="T38" fmla="*/ 920 w 4057"/>
                <a:gd name="T39" fmla="*/ 747 h 767"/>
                <a:gd name="T40" fmla="*/ 816 w 4057"/>
                <a:gd name="T41" fmla="*/ 744 h 767"/>
                <a:gd name="T42" fmla="*/ 1135 w 4057"/>
                <a:gd name="T43" fmla="*/ 366 h 767"/>
                <a:gd name="T44" fmla="*/ 1203 w 4057"/>
                <a:gd name="T45" fmla="*/ 273 h 767"/>
                <a:gd name="T46" fmla="*/ 1189 w 4057"/>
                <a:gd name="T47" fmla="*/ 183 h 767"/>
                <a:gd name="T48" fmla="*/ 1098 w 4057"/>
                <a:gd name="T49" fmla="*/ 120 h 767"/>
                <a:gd name="T50" fmla="*/ 1899 w 4057"/>
                <a:gd name="T51" fmla="*/ 15 h 767"/>
                <a:gd name="T52" fmla="*/ 2058 w 4057"/>
                <a:gd name="T53" fmla="*/ 106 h 767"/>
                <a:gd name="T54" fmla="*/ 2153 w 4057"/>
                <a:gd name="T55" fmla="*/ 252 h 767"/>
                <a:gd name="T56" fmla="*/ 2169 w 4057"/>
                <a:gd name="T57" fmla="*/ 463 h 767"/>
                <a:gd name="T58" fmla="*/ 2089 w 4057"/>
                <a:gd name="T59" fmla="*/ 629 h 767"/>
                <a:gd name="T60" fmla="*/ 1960 w 4057"/>
                <a:gd name="T61" fmla="*/ 730 h 767"/>
                <a:gd name="T62" fmla="*/ 1773 w 4057"/>
                <a:gd name="T63" fmla="*/ 767 h 767"/>
                <a:gd name="T64" fmla="*/ 1578 w 4057"/>
                <a:gd name="T65" fmla="*/ 702 h 767"/>
                <a:gd name="T66" fmla="*/ 1466 w 4057"/>
                <a:gd name="T67" fmla="*/ 584 h 767"/>
                <a:gd name="T68" fmla="*/ 1411 w 4057"/>
                <a:gd name="T69" fmla="*/ 405 h 767"/>
                <a:gd name="T70" fmla="*/ 1448 w 4057"/>
                <a:gd name="T71" fmla="*/ 218 h 767"/>
                <a:gd name="T72" fmla="*/ 1563 w 4057"/>
                <a:gd name="T73" fmla="*/ 76 h 767"/>
                <a:gd name="T74" fmla="*/ 1725 w 4057"/>
                <a:gd name="T75" fmla="*/ 6 h 767"/>
                <a:gd name="T76" fmla="*/ 1888 w 4057"/>
                <a:gd name="T77" fmla="*/ 644 h 767"/>
                <a:gd name="T78" fmla="*/ 2007 w 4057"/>
                <a:gd name="T79" fmla="*/ 561 h 767"/>
                <a:gd name="T80" fmla="*/ 2069 w 4057"/>
                <a:gd name="T81" fmla="*/ 413 h 767"/>
                <a:gd name="T82" fmla="*/ 2037 w 4057"/>
                <a:gd name="T83" fmla="*/ 253 h 767"/>
                <a:gd name="T84" fmla="*/ 1925 w 4057"/>
                <a:gd name="T85" fmla="*/ 141 h 767"/>
                <a:gd name="T86" fmla="*/ 1765 w 4057"/>
                <a:gd name="T87" fmla="*/ 108 h 767"/>
                <a:gd name="T88" fmla="*/ 1618 w 4057"/>
                <a:gd name="T89" fmla="*/ 171 h 767"/>
                <a:gd name="T90" fmla="*/ 1530 w 4057"/>
                <a:gd name="T91" fmla="*/ 304 h 767"/>
                <a:gd name="T92" fmla="*/ 1530 w 4057"/>
                <a:gd name="T93" fmla="*/ 467 h 767"/>
                <a:gd name="T94" fmla="*/ 1618 w 4057"/>
                <a:gd name="T95" fmla="*/ 598 h 767"/>
                <a:gd name="T96" fmla="*/ 1765 w 4057"/>
                <a:gd name="T97" fmla="*/ 659 h 767"/>
                <a:gd name="T98" fmla="*/ 2214 w 4057"/>
                <a:gd name="T99" fmla="*/ 91 h 767"/>
                <a:gd name="T100" fmla="*/ 2736 w 4057"/>
                <a:gd name="T101" fmla="*/ 13 h 767"/>
                <a:gd name="T102" fmla="*/ 2739 w 4057"/>
                <a:gd name="T103" fmla="*/ 107 h 767"/>
                <a:gd name="T104" fmla="*/ 2520 w 4057"/>
                <a:gd name="T105" fmla="*/ 756 h 767"/>
                <a:gd name="T106" fmla="*/ 2885 w 4057"/>
                <a:gd name="T107" fmla="*/ 31 h 767"/>
                <a:gd name="T108" fmla="*/ 3343 w 4057"/>
                <a:gd name="T109" fmla="*/ 15 h 767"/>
                <a:gd name="T110" fmla="*/ 3340 w 4057"/>
                <a:gd name="T111" fmla="*/ 109 h 767"/>
                <a:gd name="T112" fmla="*/ 3298 w 4057"/>
                <a:gd name="T113" fmla="*/ 345 h 767"/>
                <a:gd name="T114" fmla="*/ 2994 w 4057"/>
                <a:gd name="T115" fmla="*/ 658 h 767"/>
                <a:gd name="T116" fmla="*/ 3350 w 4057"/>
                <a:gd name="T117" fmla="*/ 744 h 767"/>
                <a:gd name="T118" fmla="*/ 2888 w 4057"/>
                <a:gd name="T119" fmla="*/ 747 h 7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057" h="767">
                  <a:moveTo>
                    <a:pt x="3508" y="37"/>
                  </a:moveTo>
                  <a:lnTo>
                    <a:pt x="3508" y="31"/>
                  </a:lnTo>
                  <a:lnTo>
                    <a:pt x="3509" y="29"/>
                  </a:lnTo>
                  <a:lnTo>
                    <a:pt x="3509" y="27"/>
                  </a:lnTo>
                  <a:lnTo>
                    <a:pt x="3510" y="25"/>
                  </a:lnTo>
                  <a:lnTo>
                    <a:pt x="3512" y="22"/>
                  </a:lnTo>
                  <a:lnTo>
                    <a:pt x="3515" y="19"/>
                  </a:lnTo>
                  <a:lnTo>
                    <a:pt x="3518" y="15"/>
                  </a:lnTo>
                  <a:lnTo>
                    <a:pt x="3523" y="13"/>
                  </a:lnTo>
                  <a:lnTo>
                    <a:pt x="3525" y="12"/>
                  </a:lnTo>
                  <a:lnTo>
                    <a:pt x="3528" y="12"/>
                  </a:lnTo>
                  <a:lnTo>
                    <a:pt x="3533" y="11"/>
                  </a:lnTo>
                  <a:lnTo>
                    <a:pt x="3595" y="11"/>
                  </a:lnTo>
                  <a:lnTo>
                    <a:pt x="3600" y="12"/>
                  </a:lnTo>
                  <a:lnTo>
                    <a:pt x="3602" y="12"/>
                  </a:lnTo>
                  <a:lnTo>
                    <a:pt x="3605" y="13"/>
                  </a:lnTo>
                  <a:lnTo>
                    <a:pt x="3609" y="15"/>
                  </a:lnTo>
                  <a:lnTo>
                    <a:pt x="3611" y="17"/>
                  </a:lnTo>
                  <a:lnTo>
                    <a:pt x="3613" y="19"/>
                  </a:lnTo>
                  <a:lnTo>
                    <a:pt x="3616" y="22"/>
                  </a:lnTo>
                  <a:lnTo>
                    <a:pt x="3618" y="27"/>
                  </a:lnTo>
                  <a:lnTo>
                    <a:pt x="3619" y="29"/>
                  </a:lnTo>
                  <a:lnTo>
                    <a:pt x="3620" y="31"/>
                  </a:lnTo>
                  <a:lnTo>
                    <a:pt x="3620" y="37"/>
                  </a:lnTo>
                  <a:lnTo>
                    <a:pt x="3620" y="332"/>
                  </a:lnTo>
                  <a:lnTo>
                    <a:pt x="3920" y="22"/>
                  </a:lnTo>
                  <a:lnTo>
                    <a:pt x="3924" y="18"/>
                  </a:lnTo>
                  <a:lnTo>
                    <a:pt x="3929" y="14"/>
                  </a:lnTo>
                  <a:lnTo>
                    <a:pt x="3934" y="12"/>
                  </a:lnTo>
                  <a:lnTo>
                    <a:pt x="3937" y="11"/>
                  </a:lnTo>
                  <a:lnTo>
                    <a:pt x="3940" y="11"/>
                  </a:lnTo>
                  <a:lnTo>
                    <a:pt x="4020" y="11"/>
                  </a:lnTo>
                  <a:lnTo>
                    <a:pt x="4024" y="11"/>
                  </a:lnTo>
                  <a:lnTo>
                    <a:pt x="4027" y="12"/>
                  </a:lnTo>
                  <a:lnTo>
                    <a:pt x="4030" y="13"/>
                  </a:lnTo>
                  <a:lnTo>
                    <a:pt x="4033" y="15"/>
                  </a:lnTo>
                  <a:lnTo>
                    <a:pt x="4035" y="17"/>
                  </a:lnTo>
                  <a:lnTo>
                    <a:pt x="4037" y="19"/>
                  </a:lnTo>
                  <a:lnTo>
                    <a:pt x="4040" y="24"/>
                  </a:lnTo>
                  <a:lnTo>
                    <a:pt x="4042" y="30"/>
                  </a:lnTo>
                  <a:lnTo>
                    <a:pt x="4042" y="33"/>
                  </a:lnTo>
                  <a:lnTo>
                    <a:pt x="4042" y="37"/>
                  </a:lnTo>
                  <a:lnTo>
                    <a:pt x="4039" y="43"/>
                  </a:lnTo>
                  <a:lnTo>
                    <a:pt x="4038" y="46"/>
                  </a:lnTo>
                  <a:lnTo>
                    <a:pt x="4035" y="49"/>
                  </a:lnTo>
                  <a:lnTo>
                    <a:pt x="3728" y="363"/>
                  </a:lnTo>
                  <a:lnTo>
                    <a:pt x="4053" y="721"/>
                  </a:lnTo>
                  <a:lnTo>
                    <a:pt x="4055" y="724"/>
                  </a:lnTo>
                  <a:lnTo>
                    <a:pt x="4056" y="726"/>
                  </a:lnTo>
                  <a:lnTo>
                    <a:pt x="4057" y="731"/>
                  </a:lnTo>
                  <a:lnTo>
                    <a:pt x="4057" y="734"/>
                  </a:lnTo>
                  <a:lnTo>
                    <a:pt x="4057" y="737"/>
                  </a:lnTo>
                  <a:lnTo>
                    <a:pt x="4056" y="740"/>
                  </a:lnTo>
                  <a:lnTo>
                    <a:pt x="4055" y="743"/>
                  </a:lnTo>
                  <a:lnTo>
                    <a:pt x="4054" y="746"/>
                  </a:lnTo>
                  <a:lnTo>
                    <a:pt x="4052" y="748"/>
                  </a:lnTo>
                  <a:lnTo>
                    <a:pt x="4050" y="750"/>
                  </a:lnTo>
                  <a:lnTo>
                    <a:pt x="4048" y="752"/>
                  </a:lnTo>
                  <a:lnTo>
                    <a:pt x="4045" y="754"/>
                  </a:lnTo>
                  <a:lnTo>
                    <a:pt x="4042" y="755"/>
                  </a:lnTo>
                  <a:lnTo>
                    <a:pt x="4038" y="756"/>
                  </a:lnTo>
                  <a:lnTo>
                    <a:pt x="4034" y="756"/>
                  </a:lnTo>
                  <a:lnTo>
                    <a:pt x="3949" y="756"/>
                  </a:lnTo>
                  <a:lnTo>
                    <a:pt x="3945" y="756"/>
                  </a:lnTo>
                  <a:lnTo>
                    <a:pt x="3942" y="756"/>
                  </a:lnTo>
                  <a:lnTo>
                    <a:pt x="3936" y="754"/>
                  </a:lnTo>
                  <a:lnTo>
                    <a:pt x="3934" y="753"/>
                  </a:lnTo>
                  <a:lnTo>
                    <a:pt x="3932" y="752"/>
                  </a:lnTo>
                  <a:lnTo>
                    <a:pt x="3930" y="749"/>
                  </a:lnTo>
                  <a:lnTo>
                    <a:pt x="3620" y="400"/>
                  </a:lnTo>
                  <a:lnTo>
                    <a:pt x="3620" y="731"/>
                  </a:lnTo>
                  <a:lnTo>
                    <a:pt x="3620" y="736"/>
                  </a:lnTo>
                  <a:lnTo>
                    <a:pt x="3619" y="738"/>
                  </a:lnTo>
                  <a:lnTo>
                    <a:pt x="3618" y="741"/>
                  </a:lnTo>
                  <a:lnTo>
                    <a:pt x="3616" y="745"/>
                  </a:lnTo>
                  <a:lnTo>
                    <a:pt x="3614" y="747"/>
                  </a:lnTo>
                  <a:lnTo>
                    <a:pt x="3613" y="749"/>
                  </a:lnTo>
                  <a:lnTo>
                    <a:pt x="3609" y="752"/>
                  </a:lnTo>
                  <a:lnTo>
                    <a:pt x="3605" y="754"/>
                  </a:lnTo>
                  <a:lnTo>
                    <a:pt x="3602" y="755"/>
                  </a:lnTo>
                  <a:lnTo>
                    <a:pt x="3600" y="756"/>
                  </a:lnTo>
                  <a:lnTo>
                    <a:pt x="3595" y="756"/>
                  </a:lnTo>
                  <a:lnTo>
                    <a:pt x="3533" y="756"/>
                  </a:lnTo>
                  <a:lnTo>
                    <a:pt x="3528" y="756"/>
                  </a:lnTo>
                  <a:lnTo>
                    <a:pt x="3523" y="754"/>
                  </a:lnTo>
                  <a:lnTo>
                    <a:pt x="3518" y="752"/>
                  </a:lnTo>
                  <a:lnTo>
                    <a:pt x="3515" y="749"/>
                  </a:lnTo>
                  <a:lnTo>
                    <a:pt x="3512" y="745"/>
                  </a:lnTo>
                  <a:lnTo>
                    <a:pt x="3510" y="743"/>
                  </a:lnTo>
                  <a:lnTo>
                    <a:pt x="3509" y="741"/>
                  </a:lnTo>
                  <a:lnTo>
                    <a:pt x="3508" y="736"/>
                  </a:lnTo>
                  <a:lnTo>
                    <a:pt x="3508" y="731"/>
                  </a:lnTo>
                  <a:lnTo>
                    <a:pt x="3508" y="37"/>
                  </a:lnTo>
                  <a:close/>
                  <a:moveTo>
                    <a:pt x="2" y="729"/>
                  </a:moveTo>
                  <a:lnTo>
                    <a:pt x="329" y="12"/>
                  </a:lnTo>
                  <a:lnTo>
                    <a:pt x="330" y="10"/>
                  </a:lnTo>
                  <a:lnTo>
                    <a:pt x="332" y="8"/>
                  </a:lnTo>
                  <a:lnTo>
                    <a:pt x="335" y="6"/>
                  </a:lnTo>
                  <a:lnTo>
                    <a:pt x="337" y="4"/>
                  </a:lnTo>
                  <a:lnTo>
                    <a:pt x="340" y="2"/>
                  </a:lnTo>
                  <a:lnTo>
                    <a:pt x="342" y="1"/>
                  </a:lnTo>
                  <a:lnTo>
                    <a:pt x="345" y="1"/>
                  </a:lnTo>
                  <a:lnTo>
                    <a:pt x="347" y="0"/>
                  </a:lnTo>
                  <a:lnTo>
                    <a:pt x="358" y="0"/>
                  </a:lnTo>
                  <a:lnTo>
                    <a:pt x="360" y="1"/>
                  </a:lnTo>
                  <a:lnTo>
                    <a:pt x="362" y="1"/>
                  </a:lnTo>
                  <a:lnTo>
                    <a:pt x="365" y="2"/>
                  </a:lnTo>
                  <a:lnTo>
                    <a:pt x="367" y="4"/>
                  </a:lnTo>
                  <a:lnTo>
                    <a:pt x="370" y="6"/>
                  </a:lnTo>
                  <a:lnTo>
                    <a:pt x="372" y="8"/>
                  </a:lnTo>
                  <a:lnTo>
                    <a:pt x="376" y="12"/>
                  </a:lnTo>
                  <a:lnTo>
                    <a:pt x="701" y="729"/>
                  </a:lnTo>
                  <a:lnTo>
                    <a:pt x="703" y="734"/>
                  </a:lnTo>
                  <a:lnTo>
                    <a:pt x="703" y="739"/>
                  </a:lnTo>
                  <a:lnTo>
                    <a:pt x="702" y="744"/>
                  </a:lnTo>
                  <a:lnTo>
                    <a:pt x="702" y="746"/>
                  </a:lnTo>
                  <a:lnTo>
                    <a:pt x="700" y="748"/>
                  </a:lnTo>
                  <a:lnTo>
                    <a:pt x="699" y="750"/>
                  </a:lnTo>
                  <a:lnTo>
                    <a:pt x="697" y="751"/>
                  </a:lnTo>
                  <a:lnTo>
                    <a:pt x="693" y="754"/>
                  </a:lnTo>
                  <a:lnTo>
                    <a:pt x="689" y="756"/>
                  </a:lnTo>
                  <a:lnTo>
                    <a:pt x="686" y="756"/>
                  </a:lnTo>
                  <a:lnTo>
                    <a:pt x="683" y="757"/>
                  </a:lnTo>
                  <a:lnTo>
                    <a:pt x="616" y="757"/>
                  </a:lnTo>
                  <a:lnTo>
                    <a:pt x="611" y="756"/>
                  </a:lnTo>
                  <a:lnTo>
                    <a:pt x="607" y="755"/>
                  </a:lnTo>
                  <a:lnTo>
                    <a:pt x="606" y="755"/>
                  </a:lnTo>
                  <a:lnTo>
                    <a:pt x="604" y="754"/>
                  </a:lnTo>
                  <a:lnTo>
                    <a:pt x="601" y="752"/>
                  </a:lnTo>
                  <a:lnTo>
                    <a:pt x="598" y="750"/>
                  </a:lnTo>
                  <a:lnTo>
                    <a:pt x="595" y="747"/>
                  </a:lnTo>
                  <a:lnTo>
                    <a:pt x="593" y="744"/>
                  </a:lnTo>
                  <a:lnTo>
                    <a:pt x="592" y="741"/>
                  </a:lnTo>
                  <a:lnTo>
                    <a:pt x="526" y="595"/>
                  </a:lnTo>
                  <a:lnTo>
                    <a:pt x="177" y="595"/>
                  </a:lnTo>
                  <a:lnTo>
                    <a:pt x="144" y="668"/>
                  </a:lnTo>
                  <a:lnTo>
                    <a:pt x="112" y="741"/>
                  </a:lnTo>
                  <a:lnTo>
                    <a:pt x="109" y="746"/>
                  </a:lnTo>
                  <a:lnTo>
                    <a:pt x="103" y="751"/>
                  </a:lnTo>
                  <a:lnTo>
                    <a:pt x="100" y="753"/>
                  </a:lnTo>
                  <a:lnTo>
                    <a:pt x="96" y="755"/>
                  </a:lnTo>
                  <a:lnTo>
                    <a:pt x="92" y="756"/>
                  </a:lnTo>
                  <a:lnTo>
                    <a:pt x="88" y="757"/>
                  </a:lnTo>
                  <a:lnTo>
                    <a:pt x="21" y="757"/>
                  </a:lnTo>
                  <a:lnTo>
                    <a:pt x="15" y="756"/>
                  </a:lnTo>
                  <a:lnTo>
                    <a:pt x="10" y="754"/>
                  </a:lnTo>
                  <a:lnTo>
                    <a:pt x="6" y="751"/>
                  </a:lnTo>
                  <a:lnTo>
                    <a:pt x="4" y="750"/>
                  </a:lnTo>
                  <a:lnTo>
                    <a:pt x="3" y="748"/>
                  </a:lnTo>
                  <a:lnTo>
                    <a:pt x="1" y="744"/>
                  </a:lnTo>
                  <a:lnTo>
                    <a:pt x="1" y="741"/>
                  </a:lnTo>
                  <a:lnTo>
                    <a:pt x="0" y="739"/>
                  </a:lnTo>
                  <a:lnTo>
                    <a:pt x="0" y="737"/>
                  </a:lnTo>
                  <a:lnTo>
                    <a:pt x="1" y="734"/>
                  </a:lnTo>
                  <a:lnTo>
                    <a:pt x="1" y="731"/>
                  </a:lnTo>
                  <a:lnTo>
                    <a:pt x="2" y="729"/>
                  </a:lnTo>
                  <a:close/>
                  <a:moveTo>
                    <a:pt x="485" y="503"/>
                  </a:moveTo>
                  <a:lnTo>
                    <a:pt x="353" y="211"/>
                  </a:lnTo>
                  <a:lnTo>
                    <a:pt x="348" y="211"/>
                  </a:lnTo>
                  <a:lnTo>
                    <a:pt x="218" y="503"/>
                  </a:lnTo>
                  <a:lnTo>
                    <a:pt x="485" y="503"/>
                  </a:lnTo>
                  <a:close/>
                  <a:moveTo>
                    <a:pt x="814" y="31"/>
                  </a:moveTo>
                  <a:lnTo>
                    <a:pt x="815" y="27"/>
                  </a:lnTo>
                  <a:lnTo>
                    <a:pt x="816" y="24"/>
                  </a:lnTo>
                  <a:lnTo>
                    <a:pt x="818" y="20"/>
                  </a:lnTo>
                  <a:lnTo>
                    <a:pt x="820" y="17"/>
                  </a:lnTo>
                  <a:lnTo>
                    <a:pt x="823" y="15"/>
                  </a:lnTo>
                  <a:lnTo>
                    <a:pt x="827" y="13"/>
                  </a:lnTo>
                  <a:lnTo>
                    <a:pt x="830" y="11"/>
                  </a:lnTo>
                  <a:lnTo>
                    <a:pt x="835" y="11"/>
                  </a:lnTo>
                  <a:lnTo>
                    <a:pt x="1077" y="11"/>
                  </a:lnTo>
                  <a:lnTo>
                    <a:pt x="1089" y="11"/>
                  </a:lnTo>
                  <a:lnTo>
                    <a:pt x="1101" y="12"/>
                  </a:lnTo>
                  <a:lnTo>
                    <a:pt x="1113" y="14"/>
                  </a:lnTo>
                  <a:lnTo>
                    <a:pt x="1125" y="16"/>
                  </a:lnTo>
                  <a:lnTo>
                    <a:pt x="1136" y="19"/>
                  </a:lnTo>
                  <a:lnTo>
                    <a:pt x="1148" y="22"/>
                  </a:lnTo>
                  <a:lnTo>
                    <a:pt x="1159" y="25"/>
                  </a:lnTo>
                  <a:lnTo>
                    <a:pt x="1170" y="30"/>
                  </a:lnTo>
                  <a:lnTo>
                    <a:pt x="1180" y="34"/>
                  </a:lnTo>
                  <a:lnTo>
                    <a:pt x="1190" y="40"/>
                  </a:lnTo>
                  <a:lnTo>
                    <a:pt x="1200" y="45"/>
                  </a:lnTo>
                  <a:lnTo>
                    <a:pt x="1210" y="51"/>
                  </a:lnTo>
                  <a:lnTo>
                    <a:pt x="1219" y="58"/>
                  </a:lnTo>
                  <a:lnTo>
                    <a:pt x="1228" y="65"/>
                  </a:lnTo>
                  <a:lnTo>
                    <a:pt x="1237" y="72"/>
                  </a:lnTo>
                  <a:lnTo>
                    <a:pt x="1245" y="80"/>
                  </a:lnTo>
                  <a:lnTo>
                    <a:pt x="1253" y="88"/>
                  </a:lnTo>
                  <a:lnTo>
                    <a:pt x="1261" y="97"/>
                  </a:lnTo>
                  <a:lnTo>
                    <a:pt x="1268" y="106"/>
                  </a:lnTo>
                  <a:lnTo>
                    <a:pt x="1275" y="115"/>
                  </a:lnTo>
                  <a:lnTo>
                    <a:pt x="1281" y="125"/>
                  </a:lnTo>
                  <a:lnTo>
                    <a:pt x="1286" y="135"/>
                  </a:lnTo>
                  <a:lnTo>
                    <a:pt x="1292" y="145"/>
                  </a:lnTo>
                  <a:lnTo>
                    <a:pt x="1297" y="155"/>
                  </a:lnTo>
                  <a:lnTo>
                    <a:pt x="1301" y="166"/>
                  </a:lnTo>
                  <a:lnTo>
                    <a:pt x="1305" y="177"/>
                  </a:lnTo>
                  <a:lnTo>
                    <a:pt x="1308" y="188"/>
                  </a:lnTo>
                  <a:lnTo>
                    <a:pt x="1311" y="199"/>
                  </a:lnTo>
                  <a:lnTo>
                    <a:pt x="1313" y="211"/>
                  </a:lnTo>
                  <a:lnTo>
                    <a:pt x="1314" y="222"/>
                  </a:lnTo>
                  <a:lnTo>
                    <a:pt x="1315" y="234"/>
                  </a:lnTo>
                  <a:lnTo>
                    <a:pt x="1315" y="246"/>
                  </a:lnTo>
                  <a:lnTo>
                    <a:pt x="1315" y="258"/>
                  </a:lnTo>
                  <a:lnTo>
                    <a:pt x="1314" y="270"/>
                  </a:lnTo>
                  <a:lnTo>
                    <a:pt x="1313" y="282"/>
                  </a:lnTo>
                  <a:lnTo>
                    <a:pt x="1311" y="294"/>
                  </a:lnTo>
                  <a:lnTo>
                    <a:pt x="1308" y="307"/>
                  </a:lnTo>
                  <a:lnTo>
                    <a:pt x="1305" y="318"/>
                  </a:lnTo>
                  <a:lnTo>
                    <a:pt x="1301" y="329"/>
                  </a:lnTo>
                  <a:lnTo>
                    <a:pt x="1297" y="340"/>
                  </a:lnTo>
                  <a:lnTo>
                    <a:pt x="1292" y="351"/>
                  </a:lnTo>
                  <a:lnTo>
                    <a:pt x="1287" y="361"/>
                  </a:lnTo>
                  <a:lnTo>
                    <a:pt x="1281" y="371"/>
                  </a:lnTo>
                  <a:lnTo>
                    <a:pt x="1275" y="381"/>
                  </a:lnTo>
                  <a:lnTo>
                    <a:pt x="1268" y="390"/>
                  </a:lnTo>
                  <a:lnTo>
                    <a:pt x="1261" y="399"/>
                  </a:lnTo>
                  <a:lnTo>
                    <a:pt x="1253" y="408"/>
                  </a:lnTo>
                  <a:lnTo>
                    <a:pt x="1245" y="416"/>
                  </a:lnTo>
                  <a:lnTo>
                    <a:pt x="1237" y="424"/>
                  </a:lnTo>
                  <a:lnTo>
                    <a:pt x="1229" y="432"/>
                  </a:lnTo>
                  <a:lnTo>
                    <a:pt x="1220" y="439"/>
                  </a:lnTo>
                  <a:lnTo>
                    <a:pt x="1210" y="445"/>
                  </a:lnTo>
                  <a:lnTo>
                    <a:pt x="1201" y="452"/>
                  </a:lnTo>
                  <a:lnTo>
                    <a:pt x="1191" y="457"/>
                  </a:lnTo>
                  <a:lnTo>
                    <a:pt x="1180" y="463"/>
                  </a:lnTo>
                  <a:lnTo>
                    <a:pt x="1170" y="468"/>
                  </a:lnTo>
                  <a:lnTo>
                    <a:pt x="1159" y="472"/>
                  </a:lnTo>
                  <a:lnTo>
                    <a:pt x="1148" y="476"/>
                  </a:lnTo>
                  <a:lnTo>
                    <a:pt x="1137" y="479"/>
                  </a:lnTo>
                  <a:lnTo>
                    <a:pt x="1126" y="481"/>
                  </a:lnTo>
                  <a:lnTo>
                    <a:pt x="1114" y="484"/>
                  </a:lnTo>
                  <a:lnTo>
                    <a:pt x="1102" y="485"/>
                  </a:lnTo>
                  <a:lnTo>
                    <a:pt x="1090" y="486"/>
                  </a:lnTo>
                  <a:lnTo>
                    <a:pt x="1078" y="486"/>
                  </a:lnTo>
                  <a:lnTo>
                    <a:pt x="924" y="486"/>
                  </a:lnTo>
                  <a:lnTo>
                    <a:pt x="924" y="736"/>
                  </a:lnTo>
                  <a:lnTo>
                    <a:pt x="924" y="740"/>
                  </a:lnTo>
                  <a:lnTo>
                    <a:pt x="922" y="744"/>
                  </a:lnTo>
                  <a:lnTo>
                    <a:pt x="920" y="747"/>
                  </a:lnTo>
                  <a:lnTo>
                    <a:pt x="918" y="750"/>
                  </a:lnTo>
                  <a:lnTo>
                    <a:pt x="915" y="753"/>
                  </a:lnTo>
                  <a:lnTo>
                    <a:pt x="911" y="755"/>
                  </a:lnTo>
                  <a:lnTo>
                    <a:pt x="908" y="756"/>
                  </a:lnTo>
                  <a:lnTo>
                    <a:pt x="904" y="756"/>
                  </a:lnTo>
                  <a:lnTo>
                    <a:pt x="835" y="756"/>
                  </a:lnTo>
                  <a:lnTo>
                    <a:pt x="830" y="756"/>
                  </a:lnTo>
                  <a:lnTo>
                    <a:pt x="827" y="755"/>
                  </a:lnTo>
                  <a:lnTo>
                    <a:pt x="823" y="753"/>
                  </a:lnTo>
                  <a:lnTo>
                    <a:pt x="820" y="750"/>
                  </a:lnTo>
                  <a:lnTo>
                    <a:pt x="818" y="747"/>
                  </a:lnTo>
                  <a:lnTo>
                    <a:pt x="816" y="744"/>
                  </a:lnTo>
                  <a:lnTo>
                    <a:pt x="815" y="740"/>
                  </a:lnTo>
                  <a:lnTo>
                    <a:pt x="814" y="736"/>
                  </a:lnTo>
                  <a:lnTo>
                    <a:pt x="814" y="31"/>
                  </a:lnTo>
                  <a:close/>
                  <a:moveTo>
                    <a:pt x="1071" y="382"/>
                  </a:moveTo>
                  <a:lnTo>
                    <a:pt x="1078" y="382"/>
                  </a:lnTo>
                  <a:lnTo>
                    <a:pt x="1084" y="381"/>
                  </a:lnTo>
                  <a:lnTo>
                    <a:pt x="1098" y="379"/>
                  </a:lnTo>
                  <a:lnTo>
                    <a:pt x="1110" y="376"/>
                  </a:lnTo>
                  <a:lnTo>
                    <a:pt x="1117" y="374"/>
                  </a:lnTo>
                  <a:lnTo>
                    <a:pt x="1123" y="372"/>
                  </a:lnTo>
                  <a:lnTo>
                    <a:pt x="1129" y="369"/>
                  </a:lnTo>
                  <a:lnTo>
                    <a:pt x="1135" y="366"/>
                  </a:lnTo>
                  <a:lnTo>
                    <a:pt x="1146" y="359"/>
                  </a:lnTo>
                  <a:lnTo>
                    <a:pt x="1156" y="351"/>
                  </a:lnTo>
                  <a:lnTo>
                    <a:pt x="1166" y="343"/>
                  </a:lnTo>
                  <a:lnTo>
                    <a:pt x="1175" y="333"/>
                  </a:lnTo>
                  <a:lnTo>
                    <a:pt x="1179" y="328"/>
                  </a:lnTo>
                  <a:lnTo>
                    <a:pt x="1182" y="323"/>
                  </a:lnTo>
                  <a:lnTo>
                    <a:pt x="1186" y="317"/>
                  </a:lnTo>
                  <a:lnTo>
                    <a:pt x="1189" y="312"/>
                  </a:lnTo>
                  <a:lnTo>
                    <a:pt x="1195" y="299"/>
                  </a:lnTo>
                  <a:lnTo>
                    <a:pt x="1198" y="292"/>
                  </a:lnTo>
                  <a:lnTo>
                    <a:pt x="1200" y="286"/>
                  </a:lnTo>
                  <a:lnTo>
                    <a:pt x="1203" y="273"/>
                  </a:lnTo>
                  <a:lnTo>
                    <a:pt x="1204" y="266"/>
                  </a:lnTo>
                  <a:lnTo>
                    <a:pt x="1205" y="263"/>
                  </a:lnTo>
                  <a:lnTo>
                    <a:pt x="1205" y="259"/>
                  </a:lnTo>
                  <a:lnTo>
                    <a:pt x="1206" y="252"/>
                  </a:lnTo>
                  <a:lnTo>
                    <a:pt x="1206" y="245"/>
                  </a:lnTo>
                  <a:lnTo>
                    <a:pt x="1206" y="238"/>
                  </a:lnTo>
                  <a:lnTo>
                    <a:pt x="1205" y="232"/>
                  </a:lnTo>
                  <a:lnTo>
                    <a:pt x="1203" y="219"/>
                  </a:lnTo>
                  <a:lnTo>
                    <a:pt x="1202" y="213"/>
                  </a:lnTo>
                  <a:lnTo>
                    <a:pt x="1200" y="206"/>
                  </a:lnTo>
                  <a:lnTo>
                    <a:pt x="1195" y="195"/>
                  </a:lnTo>
                  <a:lnTo>
                    <a:pt x="1189" y="183"/>
                  </a:lnTo>
                  <a:lnTo>
                    <a:pt x="1182" y="173"/>
                  </a:lnTo>
                  <a:lnTo>
                    <a:pt x="1179" y="168"/>
                  </a:lnTo>
                  <a:lnTo>
                    <a:pt x="1175" y="163"/>
                  </a:lnTo>
                  <a:lnTo>
                    <a:pt x="1170" y="158"/>
                  </a:lnTo>
                  <a:lnTo>
                    <a:pt x="1166" y="154"/>
                  </a:lnTo>
                  <a:lnTo>
                    <a:pt x="1156" y="146"/>
                  </a:lnTo>
                  <a:lnTo>
                    <a:pt x="1146" y="139"/>
                  </a:lnTo>
                  <a:lnTo>
                    <a:pt x="1135" y="132"/>
                  </a:lnTo>
                  <a:lnTo>
                    <a:pt x="1129" y="130"/>
                  </a:lnTo>
                  <a:lnTo>
                    <a:pt x="1123" y="127"/>
                  </a:lnTo>
                  <a:lnTo>
                    <a:pt x="1110" y="123"/>
                  </a:lnTo>
                  <a:lnTo>
                    <a:pt x="1098" y="120"/>
                  </a:lnTo>
                  <a:lnTo>
                    <a:pt x="1084" y="118"/>
                  </a:lnTo>
                  <a:lnTo>
                    <a:pt x="1071" y="117"/>
                  </a:lnTo>
                  <a:lnTo>
                    <a:pt x="924" y="117"/>
                  </a:lnTo>
                  <a:lnTo>
                    <a:pt x="924" y="382"/>
                  </a:lnTo>
                  <a:lnTo>
                    <a:pt x="1071" y="382"/>
                  </a:lnTo>
                  <a:close/>
                  <a:moveTo>
                    <a:pt x="1793" y="0"/>
                  </a:moveTo>
                  <a:lnTo>
                    <a:pt x="1812" y="1"/>
                  </a:lnTo>
                  <a:lnTo>
                    <a:pt x="1832" y="2"/>
                  </a:lnTo>
                  <a:lnTo>
                    <a:pt x="1851" y="5"/>
                  </a:lnTo>
                  <a:lnTo>
                    <a:pt x="1871" y="8"/>
                  </a:lnTo>
                  <a:lnTo>
                    <a:pt x="1890" y="12"/>
                  </a:lnTo>
                  <a:lnTo>
                    <a:pt x="1899" y="15"/>
                  </a:lnTo>
                  <a:lnTo>
                    <a:pt x="1908" y="18"/>
                  </a:lnTo>
                  <a:lnTo>
                    <a:pt x="1917" y="20"/>
                  </a:lnTo>
                  <a:lnTo>
                    <a:pt x="1926" y="24"/>
                  </a:lnTo>
                  <a:lnTo>
                    <a:pt x="1943" y="30"/>
                  </a:lnTo>
                  <a:lnTo>
                    <a:pt x="1960" y="38"/>
                  </a:lnTo>
                  <a:lnTo>
                    <a:pt x="1977" y="47"/>
                  </a:lnTo>
                  <a:lnTo>
                    <a:pt x="1993" y="56"/>
                  </a:lnTo>
                  <a:lnTo>
                    <a:pt x="2008" y="66"/>
                  </a:lnTo>
                  <a:lnTo>
                    <a:pt x="2023" y="76"/>
                  </a:lnTo>
                  <a:lnTo>
                    <a:pt x="2038" y="88"/>
                  </a:lnTo>
                  <a:lnTo>
                    <a:pt x="2052" y="100"/>
                  </a:lnTo>
                  <a:lnTo>
                    <a:pt x="2058" y="106"/>
                  </a:lnTo>
                  <a:lnTo>
                    <a:pt x="2065" y="113"/>
                  </a:lnTo>
                  <a:lnTo>
                    <a:pt x="2077" y="126"/>
                  </a:lnTo>
                  <a:lnTo>
                    <a:pt x="2089" y="140"/>
                  </a:lnTo>
                  <a:lnTo>
                    <a:pt x="2095" y="147"/>
                  </a:lnTo>
                  <a:lnTo>
                    <a:pt x="2101" y="154"/>
                  </a:lnTo>
                  <a:lnTo>
                    <a:pt x="2111" y="169"/>
                  </a:lnTo>
                  <a:lnTo>
                    <a:pt x="2121" y="185"/>
                  </a:lnTo>
                  <a:lnTo>
                    <a:pt x="2131" y="201"/>
                  </a:lnTo>
                  <a:lnTo>
                    <a:pt x="2139" y="218"/>
                  </a:lnTo>
                  <a:lnTo>
                    <a:pt x="2147" y="235"/>
                  </a:lnTo>
                  <a:lnTo>
                    <a:pt x="2150" y="243"/>
                  </a:lnTo>
                  <a:lnTo>
                    <a:pt x="2153" y="252"/>
                  </a:lnTo>
                  <a:lnTo>
                    <a:pt x="2159" y="270"/>
                  </a:lnTo>
                  <a:lnTo>
                    <a:pt x="2165" y="288"/>
                  </a:lnTo>
                  <a:lnTo>
                    <a:pt x="2169" y="308"/>
                  </a:lnTo>
                  <a:lnTo>
                    <a:pt x="2171" y="317"/>
                  </a:lnTo>
                  <a:lnTo>
                    <a:pt x="2172" y="327"/>
                  </a:lnTo>
                  <a:lnTo>
                    <a:pt x="2175" y="346"/>
                  </a:lnTo>
                  <a:lnTo>
                    <a:pt x="2176" y="366"/>
                  </a:lnTo>
                  <a:lnTo>
                    <a:pt x="2177" y="385"/>
                  </a:lnTo>
                  <a:lnTo>
                    <a:pt x="2176" y="405"/>
                  </a:lnTo>
                  <a:lnTo>
                    <a:pt x="2175" y="425"/>
                  </a:lnTo>
                  <a:lnTo>
                    <a:pt x="2172" y="444"/>
                  </a:lnTo>
                  <a:lnTo>
                    <a:pt x="2169" y="463"/>
                  </a:lnTo>
                  <a:lnTo>
                    <a:pt x="2165" y="481"/>
                  </a:lnTo>
                  <a:lnTo>
                    <a:pt x="2162" y="491"/>
                  </a:lnTo>
                  <a:lnTo>
                    <a:pt x="2159" y="500"/>
                  </a:lnTo>
                  <a:lnTo>
                    <a:pt x="2157" y="509"/>
                  </a:lnTo>
                  <a:lnTo>
                    <a:pt x="2153" y="517"/>
                  </a:lnTo>
                  <a:lnTo>
                    <a:pt x="2147" y="535"/>
                  </a:lnTo>
                  <a:lnTo>
                    <a:pt x="2139" y="552"/>
                  </a:lnTo>
                  <a:lnTo>
                    <a:pt x="2131" y="568"/>
                  </a:lnTo>
                  <a:lnTo>
                    <a:pt x="2121" y="584"/>
                  </a:lnTo>
                  <a:lnTo>
                    <a:pt x="2111" y="600"/>
                  </a:lnTo>
                  <a:lnTo>
                    <a:pt x="2101" y="615"/>
                  </a:lnTo>
                  <a:lnTo>
                    <a:pt x="2089" y="629"/>
                  </a:lnTo>
                  <a:lnTo>
                    <a:pt x="2077" y="643"/>
                  </a:lnTo>
                  <a:lnTo>
                    <a:pt x="2071" y="649"/>
                  </a:lnTo>
                  <a:lnTo>
                    <a:pt x="2065" y="656"/>
                  </a:lnTo>
                  <a:lnTo>
                    <a:pt x="2052" y="669"/>
                  </a:lnTo>
                  <a:lnTo>
                    <a:pt x="2038" y="681"/>
                  </a:lnTo>
                  <a:lnTo>
                    <a:pt x="2031" y="686"/>
                  </a:lnTo>
                  <a:lnTo>
                    <a:pt x="2023" y="692"/>
                  </a:lnTo>
                  <a:lnTo>
                    <a:pt x="2008" y="702"/>
                  </a:lnTo>
                  <a:lnTo>
                    <a:pt x="2001" y="707"/>
                  </a:lnTo>
                  <a:lnTo>
                    <a:pt x="1993" y="712"/>
                  </a:lnTo>
                  <a:lnTo>
                    <a:pt x="1977" y="721"/>
                  </a:lnTo>
                  <a:lnTo>
                    <a:pt x="1960" y="730"/>
                  </a:lnTo>
                  <a:lnTo>
                    <a:pt x="1952" y="734"/>
                  </a:lnTo>
                  <a:lnTo>
                    <a:pt x="1943" y="737"/>
                  </a:lnTo>
                  <a:lnTo>
                    <a:pt x="1935" y="741"/>
                  </a:lnTo>
                  <a:lnTo>
                    <a:pt x="1926" y="744"/>
                  </a:lnTo>
                  <a:lnTo>
                    <a:pt x="1908" y="750"/>
                  </a:lnTo>
                  <a:lnTo>
                    <a:pt x="1890" y="755"/>
                  </a:lnTo>
                  <a:lnTo>
                    <a:pt x="1871" y="759"/>
                  </a:lnTo>
                  <a:lnTo>
                    <a:pt x="1851" y="763"/>
                  </a:lnTo>
                  <a:lnTo>
                    <a:pt x="1832" y="765"/>
                  </a:lnTo>
                  <a:lnTo>
                    <a:pt x="1812" y="767"/>
                  </a:lnTo>
                  <a:lnTo>
                    <a:pt x="1793" y="767"/>
                  </a:lnTo>
                  <a:lnTo>
                    <a:pt x="1773" y="767"/>
                  </a:lnTo>
                  <a:lnTo>
                    <a:pt x="1753" y="765"/>
                  </a:lnTo>
                  <a:lnTo>
                    <a:pt x="1734" y="763"/>
                  </a:lnTo>
                  <a:lnTo>
                    <a:pt x="1715" y="759"/>
                  </a:lnTo>
                  <a:lnTo>
                    <a:pt x="1697" y="755"/>
                  </a:lnTo>
                  <a:lnTo>
                    <a:pt x="1678" y="750"/>
                  </a:lnTo>
                  <a:lnTo>
                    <a:pt x="1669" y="747"/>
                  </a:lnTo>
                  <a:lnTo>
                    <a:pt x="1661" y="744"/>
                  </a:lnTo>
                  <a:lnTo>
                    <a:pt x="1643" y="737"/>
                  </a:lnTo>
                  <a:lnTo>
                    <a:pt x="1626" y="730"/>
                  </a:lnTo>
                  <a:lnTo>
                    <a:pt x="1610" y="721"/>
                  </a:lnTo>
                  <a:lnTo>
                    <a:pt x="1594" y="712"/>
                  </a:lnTo>
                  <a:lnTo>
                    <a:pt x="1578" y="702"/>
                  </a:lnTo>
                  <a:lnTo>
                    <a:pt x="1563" y="692"/>
                  </a:lnTo>
                  <a:lnTo>
                    <a:pt x="1549" y="681"/>
                  </a:lnTo>
                  <a:lnTo>
                    <a:pt x="1542" y="675"/>
                  </a:lnTo>
                  <a:lnTo>
                    <a:pt x="1535" y="669"/>
                  </a:lnTo>
                  <a:lnTo>
                    <a:pt x="1522" y="656"/>
                  </a:lnTo>
                  <a:lnTo>
                    <a:pt x="1509" y="643"/>
                  </a:lnTo>
                  <a:lnTo>
                    <a:pt x="1497" y="629"/>
                  </a:lnTo>
                  <a:lnTo>
                    <a:pt x="1492" y="622"/>
                  </a:lnTo>
                  <a:lnTo>
                    <a:pt x="1486" y="615"/>
                  </a:lnTo>
                  <a:lnTo>
                    <a:pt x="1476" y="600"/>
                  </a:lnTo>
                  <a:lnTo>
                    <a:pt x="1471" y="592"/>
                  </a:lnTo>
                  <a:lnTo>
                    <a:pt x="1466" y="584"/>
                  </a:lnTo>
                  <a:lnTo>
                    <a:pt x="1457" y="568"/>
                  </a:lnTo>
                  <a:lnTo>
                    <a:pt x="1448" y="552"/>
                  </a:lnTo>
                  <a:lnTo>
                    <a:pt x="1444" y="543"/>
                  </a:lnTo>
                  <a:lnTo>
                    <a:pt x="1441" y="535"/>
                  </a:lnTo>
                  <a:lnTo>
                    <a:pt x="1437" y="526"/>
                  </a:lnTo>
                  <a:lnTo>
                    <a:pt x="1434" y="517"/>
                  </a:lnTo>
                  <a:lnTo>
                    <a:pt x="1428" y="500"/>
                  </a:lnTo>
                  <a:lnTo>
                    <a:pt x="1423" y="481"/>
                  </a:lnTo>
                  <a:lnTo>
                    <a:pt x="1419" y="463"/>
                  </a:lnTo>
                  <a:lnTo>
                    <a:pt x="1415" y="444"/>
                  </a:lnTo>
                  <a:lnTo>
                    <a:pt x="1413" y="425"/>
                  </a:lnTo>
                  <a:lnTo>
                    <a:pt x="1411" y="405"/>
                  </a:lnTo>
                  <a:lnTo>
                    <a:pt x="1411" y="385"/>
                  </a:lnTo>
                  <a:lnTo>
                    <a:pt x="1411" y="366"/>
                  </a:lnTo>
                  <a:lnTo>
                    <a:pt x="1413" y="346"/>
                  </a:lnTo>
                  <a:lnTo>
                    <a:pt x="1415" y="327"/>
                  </a:lnTo>
                  <a:lnTo>
                    <a:pt x="1419" y="308"/>
                  </a:lnTo>
                  <a:lnTo>
                    <a:pt x="1423" y="288"/>
                  </a:lnTo>
                  <a:lnTo>
                    <a:pt x="1428" y="270"/>
                  </a:lnTo>
                  <a:lnTo>
                    <a:pt x="1431" y="261"/>
                  </a:lnTo>
                  <a:lnTo>
                    <a:pt x="1434" y="252"/>
                  </a:lnTo>
                  <a:lnTo>
                    <a:pt x="1437" y="243"/>
                  </a:lnTo>
                  <a:lnTo>
                    <a:pt x="1441" y="235"/>
                  </a:lnTo>
                  <a:lnTo>
                    <a:pt x="1448" y="218"/>
                  </a:lnTo>
                  <a:lnTo>
                    <a:pt x="1457" y="201"/>
                  </a:lnTo>
                  <a:lnTo>
                    <a:pt x="1466" y="185"/>
                  </a:lnTo>
                  <a:lnTo>
                    <a:pt x="1476" y="169"/>
                  </a:lnTo>
                  <a:lnTo>
                    <a:pt x="1486" y="154"/>
                  </a:lnTo>
                  <a:lnTo>
                    <a:pt x="1497" y="140"/>
                  </a:lnTo>
                  <a:lnTo>
                    <a:pt x="1503" y="133"/>
                  </a:lnTo>
                  <a:lnTo>
                    <a:pt x="1509" y="126"/>
                  </a:lnTo>
                  <a:lnTo>
                    <a:pt x="1522" y="113"/>
                  </a:lnTo>
                  <a:lnTo>
                    <a:pt x="1535" y="100"/>
                  </a:lnTo>
                  <a:lnTo>
                    <a:pt x="1542" y="94"/>
                  </a:lnTo>
                  <a:lnTo>
                    <a:pt x="1549" y="88"/>
                  </a:lnTo>
                  <a:lnTo>
                    <a:pt x="1563" y="76"/>
                  </a:lnTo>
                  <a:lnTo>
                    <a:pt x="1578" y="66"/>
                  </a:lnTo>
                  <a:lnTo>
                    <a:pt x="1594" y="56"/>
                  </a:lnTo>
                  <a:lnTo>
                    <a:pt x="1610" y="47"/>
                  </a:lnTo>
                  <a:lnTo>
                    <a:pt x="1626" y="38"/>
                  </a:lnTo>
                  <a:lnTo>
                    <a:pt x="1643" y="30"/>
                  </a:lnTo>
                  <a:lnTo>
                    <a:pt x="1652" y="27"/>
                  </a:lnTo>
                  <a:lnTo>
                    <a:pt x="1661" y="24"/>
                  </a:lnTo>
                  <a:lnTo>
                    <a:pt x="1669" y="20"/>
                  </a:lnTo>
                  <a:lnTo>
                    <a:pt x="1678" y="18"/>
                  </a:lnTo>
                  <a:lnTo>
                    <a:pt x="1697" y="12"/>
                  </a:lnTo>
                  <a:lnTo>
                    <a:pt x="1715" y="8"/>
                  </a:lnTo>
                  <a:lnTo>
                    <a:pt x="1725" y="6"/>
                  </a:lnTo>
                  <a:lnTo>
                    <a:pt x="1734" y="5"/>
                  </a:lnTo>
                  <a:lnTo>
                    <a:pt x="1753" y="2"/>
                  </a:lnTo>
                  <a:lnTo>
                    <a:pt x="1773" y="1"/>
                  </a:lnTo>
                  <a:lnTo>
                    <a:pt x="1793" y="0"/>
                  </a:lnTo>
                  <a:close/>
                  <a:moveTo>
                    <a:pt x="1793" y="661"/>
                  </a:moveTo>
                  <a:lnTo>
                    <a:pt x="1807" y="660"/>
                  </a:lnTo>
                  <a:lnTo>
                    <a:pt x="1821" y="659"/>
                  </a:lnTo>
                  <a:lnTo>
                    <a:pt x="1835" y="658"/>
                  </a:lnTo>
                  <a:lnTo>
                    <a:pt x="1848" y="655"/>
                  </a:lnTo>
                  <a:lnTo>
                    <a:pt x="1862" y="652"/>
                  </a:lnTo>
                  <a:lnTo>
                    <a:pt x="1876" y="648"/>
                  </a:lnTo>
                  <a:lnTo>
                    <a:pt x="1888" y="644"/>
                  </a:lnTo>
                  <a:lnTo>
                    <a:pt x="1901" y="639"/>
                  </a:lnTo>
                  <a:lnTo>
                    <a:pt x="1913" y="634"/>
                  </a:lnTo>
                  <a:lnTo>
                    <a:pt x="1925" y="628"/>
                  </a:lnTo>
                  <a:lnTo>
                    <a:pt x="1931" y="624"/>
                  </a:lnTo>
                  <a:lnTo>
                    <a:pt x="1937" y="621"/>
                  </a:lnTo>
                  <a:lnTo>
                    <a:pt x="1948" y="614"/>
                  </a:lnTo>
                  <a:lnTo>
                    <a:pt x="1959" y="606"/>
                  </a:lnTo>
                  <a:lnTo>
                    <a:pt x="1969" y="598"/>
                  </a:lnTo>
                  <a:lnTo>
                    <a:pt x="1979" y="589"/>
                  </a:lnTo>
                  <a:lnTo>
                    <a:pt x="1989" y="580"/>
                  </a:lnTo>
                  <a:lnTo>
                    <a:pt x="1998" y="571"/>
                  </a:lnTo>
                  <a:lnTo>
                    <a:pt x="2007" y="561"/>
                  </a:lnTo>
                  <a:lnTo>
                    <a:pt x="2015" y="550"/>
                  </a:lnTo>
                  <a:lnTo>
                    <a:pt x="2023" y="539"/>
                  </a:lnTo>
                  <a:lnTo>
                    <a:pt x="2030" y="528"/>
                  </a:lnTo>
                  <a:lnTo>
                    <a:pt x="2037" y="517"/>
                  </a:lnTo>
                  <a:lnTo>
                    <a:pt x="2043" y="505"/>
                  </a:lnTo>
                  <a:lnTo>
                    <a:pt x="2048" y="493"/>
                  </a:lnTo>
                  <a:lnTo>
                    <a:pt x="2053" y="480"/>
                  </a:lnTo>
                  <a:lnTo>
                    <a:pt x="2058" y="467"/>
                  </a:lnTo>
                  <a:lnTo>
                    <a:pt x="2061" y="454"/>
                  </a:lnTo>
                  <a:lnTo>
                    <a:pt x="2065" y="441"/>
                  </a:lnTo>
                  <a:lnTo>
                    <a:pt x="2067" y="427"/>
                  </a:lnTo>
                  <a:lnTo>
                    <a:pt x="2069" y="413"/>
                  </a:lnTo>
                  <a:lnTo>
                    <a:pt x="2070" y="399"/>
                  </a:lnTo>
                  <a:lnTo>
                    <a:pt x="2070" y="385"/>
                  </a:lnTo>
                  <a:lnTo>
                    <a:pt x="2070" y="371"/>
                  </a:lnTo>
                  <a:lnTo>
                    <a:pt x="2069" y="357"/>
                  </a:lnTo>
                  <a:lnTo>
                    <a:pt x="2067" y="344"/>
                  </a:lnTo>
                  <a:lnTo>
                    <a:pt x="2065" y="330"/>
                  </a:lnTo>
                  <a:lnTo>
                    <a:pt x="2061" y="317"/>
                  </a:lnTo>
                  <a:lnTo>
                    <a:pt x="2058" y="304"/>
                  </a:lnTo>
                  <a:lnTo>
                    <a:pt x="2053" y="290"/>
                  </a:lnTo>
                  <a:lnTo>
                    <a:pt x="2048" y="277"/>
                  </a:lnTo>
                  <a:lnTo>
                    <a:pt x="2043" y="265"/>
                  </a:lnTo>
                  <a:lnTo>
                    <a:pt x="2037" y="253"/>
                  </a:lnTo>
                  <a:lnTo>
                    <a:pt x="2030" y="241"/>
                  </a:lnTo>
                  <a:lnTo>
                    <a:pt x="2023" y="230"/>
                  </a:lnTo>
                  <a:lnTo>
                    <a:pt x="2015" y="219"/>
                  </a:lnTo>
                  <a:lnTo>
                    <a:pt x="2007" y="209"/>
                  </a:lnTo>
                  <a:lnTo>
                    <a:pt x="1998" y="199"/>
                  </a:lnTo>
                  <a:lnTo>
                    <a:pt x="1989" y="189"/>
                  </a:lnTo>
                  <a:lnTo>
                    <a:pt x="1979" y="180"/>
                  </a:lnTo>
                  <a:lnTo>
                    <a:pt x="1969" y="171"/>
                  </a:lnTo>
                  <a:lnTo>
                    <a:pt x="1959" y="163"/>
                  </a:lnTo>
                  <a:lnTo>
                    <a:pt x="1948" y="155"/>
                  </a:lnTo>
                  <a:lnTo>
                    <a:pt x="1937" y="147"/>
                  </a:lnTo>
                  <a:lnTo>
                    <a:pt x="1925" y="141"/>
                  </a:lnTo>
                  <a:lnTo>
                    <a:pt x="1913" y="135"/>
                  </a:lnTo>
                  <a:lnTo>
                    <a:pt x="1901" y="129"/>
                  </a:lnTo>
                  <a:lnTo>
                    <a:pt x="1888" y="124"/>
                  </a:lnTo>
                  <a:lnTo>
                    <a:pt x="1876" y="119"/>
                  </a:lnTo>
                  <a:lnTo>
                    <a:pt x="1862" y="116"/>
                  </a:lnTo>
                  <a:lnTo>
                    <a:pt x="1848" y="113"/>
                  </a:lnTo>
                  <a:lnTo>
                    <a:pt x="1835" y="110"/>
                  </a:lnTo>
                  <a:lnTo>
                    <a:pt x="1821" y="108"/>
                  </a:lnTo>
                  <a:lnTo>
                    <a:pt x="1807" y="107"/>
                  </a:lnTo>
                  <a:lnTo>
                    <a:pt x="1793" y="107"/>
                  </a:lnTo>
                  <a:lnTo>
                    <a:pt x="1779" y="107"/>
                  </a:lnTo>
                  <a:lnTo>
                    <a:pt x="1765" y="108"/>
                  </a:lnTo>
                  <a:lnTo>
                    <a:pt x="1751" y="110"/>
                  </a:lnTo>
                  <a:lnTo>
                    <a:pt x="1737" y="113"/>
                  </a:lnTo>
                  <a:lnTo>
                    <a:pt x="1724" y="116"/>
                  </a:lnTo>
                  <a:lnTo>
                    <a:pt x="1711" y="119"/>
                  </a:lnTo>
                  <a:lnTo>
                    <a:pt x="1698" y="124"/>
                  </a:lnTo>
                  <a:lnTo>
                    <a:pt x="1686" y="129"/>
                  </a:lnTo>
                  <a:lnTo>
                    <a:pt x="1674" y="135"/>
                  </a:lnTo>
                  <a:lnTo>
                    <a:pt x="1662" y="141"/>
                  </a:lnTo>
                  <a:lnTo>
                    <a:pt x="1650" y="147"/>
                  </a:lnTo>
                  <a:lnTo>
                    <a:pt x="1639" y="155"/>
                  </a:lnTo>
                  <a:lnTo>
                    <a:pt x="1628" y="163"/>
                  </a:lnTo>
                  <a:lnTo>
                    <a:pt x="1618" y="171"/>
                  </a:lnTo>
                  <a:lnTo>
                    <a:pt x="1608" y="180"/>
                  </a:lnTo>
                  <a:lnTo>
                    <a:pt x="1598" y="189"/>
                  </a:lnTo>
                  <a:lnTo>
                    <a:pt x="1589" y="199"/>
                  </a:lnTo>
                  <a:lnTo>
                    <a:pt x="1580" y="209"/>
                  </a:lnTo>
                  <a:lnTo>
                    <a:pt x="1572" y="219"/>
                  </a:lnTo>
                  <a:lnTo>
                    <a:pt x="1565" y="230"/>
                  </a:lnTo>
                  <a:lnTo>
                    <a:pt x="1557" y="241"/>
                  </a:lnTo>
                  <a:lnTo>
                    <a:pt x="1551" y="253"/>
                  </a:lnTo>
                  <a:lnTo>
                    <a:pt x="1545" y="265"/>
                  </a:lnTo>
                  <a:lnTo>
                    <a:pt x="1539" y="277"/>
                  </a:lnTo>
                  <a:lnTo>
                    <a:pt x="1534" y="290"/>
                  </a:lnTo>
                  <a:lnTo>
                    <a:pt x="1530" y="304"/>
                  </a:lnTo>
                  <a:lnTo>
                    <a:pt x="1526" y="317"/>
                  </a:lnTo>
                  <a:lnTo>
                    <a:pt x="1523" y="330"/>
                  </a:lnTo>
                  <a:lnTo>
                    <a:pt x="1520" y="344"/>
                  </a:lnTo>
                  <a:lnTo>
                    <a:pt x="1519" y="357"/>
                  </a:lnTo>
                  <a:lnTo>
                    <a:pt x="1518" y="371"/>
                  </a:lnTo>
                  <a:lnTo>
                    <a:pt x="1517" y="385"/>
                  </a:lnTo>
                  <a:lnTo>
                    <a:pt x="1518" y="399"/>
                  </a:lnTo>
                  <a:lnTo>
                    <a:pt x="1519" y="413"/>
                  </a:lnTo>
                  <a:lnTo>
                    <a:pt x="1520" y="427"/>
                  </a:lnTo>
                  <a:lnTo>
                    <a:pt x="1523" y="441"/>
                  </a:lnTo>
                  <a:lnTo>
                    <a:pt x="1526" y="454"/>
                  </a:lnTo>
                  <a:lnTo>
                    <a:pt x="1530" y="467"/>
                  </a:lnTo>
                  <a:lnTo>
                    <a:pt x="1534" y="480"/>
                  </a:lnTo>
                  <a:lnTo>
                    <a:pt x="1539" y="493"/>
                  </a:lnTo>
                  <a:lnTo>
                    <a:pt x="1545" y="505"/>
                  </a:lnTo>
                  <a:lnTo>
                    <a:pt x="1551" y="517"/>
                  </a:lnTo>
                  <a:lnTo>
                    <a:pt x="1557" y="528"/>
                  </a:lnTo>
                  <a:lnTo>
                    <a:pt x="1565" y="539"/>
                  </a:lnTo>
                  <a:lnTo>
                    <a:pt x="1572" y="550"/>
                  </a:lnTo>
                  <a:lnTo>
                    <a:pt x="1580" y="561"/>
                  </a:lnTo>
                  <a:lnTo>
                    <a:pt x="1589" y="571"/>
                  </a:lnTo>
                  <a:lnTo>
                    <a:pt x="1598" y="580"/>
                  </a:lnTo>
                  <a:lnTo>
                    <a:pt x="1608" y="589"/>
                  </a:lnTo>
                  <a:lnTo>
                    <a:pt x="1618" y="598"/>
                  </a:lnTo>
                  <a:lnTo>
                    <a:pt x="1628" y="606"/>
                  </a:lnTo>
                  <a:lnTo>
                    <a:pt x="1639" y="614"/>
                  </a:lnTo>
                  <a:lnTo>
                    <a:pt x="1650" y="621"/>
                  </a:lnTo>
                  <a:lnTo>
                    <a:pt x="1662" y="628"/>
                  </a:lnTo>
                  <a:lnTo>
                    <a:pt x="1674" y="634"/>
                  </a:lnTo>
                  <a:lnTo>
                    <a:pt x="1686" y="639"/>
                  </a:lnTo>
                  <a:lnTo>
                    <a:pt x="1698" y="644"/>
                  </a:lnTo>
                  <a:lnTo>
                    <a:pt x="1711" y="648"/>
                  </a:lnTo>
                  <a:lnTo>
                    <a:pt x="1724" y="652"/>
                  </a:lnTo>
                  <a:lnTo>
                    <a:pt x="1737" y="655"/>
                  </a:lnTo>
                  <a:lnTo>
                    <a:pt x="1751" y="658"/>
                  </a:lnTo>
                  <a:lnTo>
                    <a:pt x="1765" y="659"/>
                  </a:lnTo>
                  <a:lnTo>
                    <a:pt x="1779" y="660"/>
                  </a:lnTo>
                  <a:lnTo>
                    <a:pt x="1793" y="661"/>
                  </a:lnTo>
                  <a:close/>
                  <a:moveTo>
                    <a:pt x="2426" y="111"/>
                  </a:moveTo>
                  <a:lnTo>
                    <a:pt x="2235" y="111"/>
                  </a:lnTo>
                  <a:lnTo>
                    <a:pt x="2230" y="111"/>
                  </a:lnTo>
                  <a:lnTo>
                    <a:pt x="2227" y="109"/>
                  </a:lnTo>
                  <a:lnTo>
                    <a:pt x="2223" y="107"/>
                  </a:lnTo>
                  <a:lnTo>
                    <a:pt x="2220" y="105"/>
                  </a:lnTo>
                  <a:lnTo>
                    <a:pt x="2218" y="102"/>
                  </a:lnTo>
                  <a:lnTo>
                    <a:pt x="2216" y="98"/>
                  </a:lnTo>
                  <a:lnTo>
                    <a:pt x="2215" y="95"/>
                  </a:lnTo>
                  <a:lnTo>
                    <a:pt x="2214" y="91"/>
                  </a:lnTo>
                  <a:lnTo>
                    <a:pt x="2214" y="31"/>
                  </a:lnTo>
                  <a:lnTo>
                    <a:pt x="2215" y="27"/>
                  </a:lnTo>
                  <a:lnTo>
                    <a:pt x="2216" y="24"/>
                  </a:lnTo>
                  <a:lnTo>
                    <a:pt x="2218" y="20"/>
                  </a:lnTo>
                  <a:lnTo>
                    <a:pt x="2220" y="17"/>
                  </a:lnTo>
                  <a:lnTo>
                    <a:pt x="2223" y="15"/>
                  </a:lnTo>
                  <a:lnTo>
                    <a:pt x="2227" y="13"/>
                  </a:lnTo>
                  <a:lnTo>
                    <a:pt x="2230" y="11"/>
                  </a:lnTo>
                  <a:lnTo>
                    <a:pt x="2235" y="11"/>
                  </a:lnTo>
                  <a:lnTo>
                    <a:pt x="2727" y="11"/>
                  </a:lnTo>
                  <a:lnTo>
                    <a:pt x="2732" y="11"/>
                  </a:lnTo>
                  <a:lnTo>
                    <a:pt x="2736" y="13"/>
                  </a:lnTo>
                  <a:lnTo>
                    <a:pt x="2739" y="15"/>
                  </a:lnTo>
                  <a:lnTo>
                    <a:pt x="2742" y="17"/>
                  </a:lnTo>
                  <a:lnTo>
                    <a:pt x="2744" y="20"/>
                  </a:lnTo>
                  <a:lnTo>
                    <a:pt x="2746" y="24"/>
                  </a:lnTo>
                  <a:lnTo>
                    <a:pt x="2747" y="27"/>
                  </a:lnTo>
                  <a:lnTo>
                    <a:pt x="2748" y="31"/>
                  </a:lnTo>
                  <a:lnTo>
                    <a:pt x="2748" y="91"/>
                  </a:lnTo>
                  <a:lnTo>
                    <a:pt x="2747" y="95"/>
                  </a:lnTo>
                  <a:lnTo>
                    <a:pt x="2746" y="98"/>
                  </a:lnTo>
                  <a:lnTo>
                    <a:pt x="2744" y="102"/>
                  </a:lnTo>
                  <a:lnTo>
                    <a:pt x="2742" y="105"/>
                  </a:lnTo>
                  <a:lnTo>
                    <a:pt x="2739" y="107"/>
                  </a:lnTo>
                  <a:lnTo>
                    <a:pt x="2736" y="109"/>
                  </a:lnTo>
                  <a:lnTo>
                    <a:pt x="2732" y="111"/>
                  </a:lnTo>
                  <a:lnTo>
                    <a:pt x="2727" y="111"/>
                  </a:lnTo>
                  <a:lnTo>
                    <a:pt x="2536" y="111"/>
                  </a:lnTo>
                  <a:lnTo>
                    <a:pt x="2536" y="736"/>
                  </a:lnTo>
                  <a:lnTo>
                    <a:pt x="2536" y="740"/>
                  </a:lnTo>
                  <a:lnTo>
                    <a:pt x="2535" y="744"/>
                  </a:lnTo>
                  <a:lnTo>
                    <a:pt x="2533" y="747"/>
                  </a:lnTo>
                  <a:lnTo>
                    <a:pt x="2530" y="750"/>
                  </a:lnTo>
                  <a:lnTo>
                    <a:pt x="2527" y="753"/>
                  </a:lnTo>
                  <a:lnTo>
                    <a:pt x="2524" y="755"/>
                  </a:lnTo>
                  <a:lnTo>
                    <a:pt x="2520" y="756"/>
                  </a:lnTo>
                  <a:lnTo>
                    <a:pt x="2516" y="757"/>
                  </a:lnTo>
                  <a:lnTo>
                    <a:pt x="2446" y="757"/>
                  </a:lnTo>
                  <a:lnTo>
                    <a:pt x="2442" y="756"/>
                  </a:lnTo>
                  <a:lnTo>
                    <a:pt x="2438" y="755"/>
                  </a:lnTo>
                  <a:lnTo>
                    <a:pt x="2435" y="753"/>
                  </a:lnTo>
                  <a:lnTo>
                    <a:pt x="2432" y="750"/>
                  </a:lnTo>
                  <a:lnTo>
                    <a:pt x="2429" y="747"/>
                  </a:lnTo>
                  <a:lnTo>
                    <a:pt x="2427" y="744"/>
                  </a:lnTo>
                  <a:lnTo>
                    <a:pt x="2426" y="740"/>
                  </a:lnTo>
                  <a:lnTo>
                    <a:pt x="2426" y="736"/>
                  </a:lnTo>
                  <a:lnTo>
                    <a:pt x="2426" y="111"/>
                  </a:lnTo>
                  <a:close/>
                  <a:moveTo>
                    <a:pt x="2885" y="31"/>
                  </a:moveTo>
                  <a:lnTo>
                    <a:pt x="2885" y="27"/>
                  </a:lnTo>
                  <a:lnTo>
                    <a:pt x="2886" y="24"/>
                  </a:lnTo>
                  <a:lnTo>
                    <a:pt x="2888" y="20"/>
                  </a:lnTo>
                  <a:lnTo>
                    <a:pt x="2891" y="17"/>
                  </a:lnTo>
                  <a:lnTo>
                    <a:pt x="2893" y="15"/>
                  </a:lnTo>
                  <a:lnTo>
                    <a:pt x="2897" y="13"/>
                  </a:lnTo>
                  <a:lnTo>
                    <a:pt x="2901" y="11"/>
                  </a:lnTo>
                  <a:lnTo>
                    <a:pt x="2905" y="11"/>
                  </a:lnTo>
                  <a:lnTo>
                    <a:pt x="3331" y="11"/>
                  </a:lnTo>
                  <a:lnTo>
                    <a:pt x="3336" y="11"/>
                  </a:lnTo>
                  <a:lnTo>
                    <a:pt x="3340" y="13"/>
                  </a:lnTo>
                  <a:lnTo>
                    <a:pt x="3343" y="15"/>
                  </a:lnTo>
                  <a:lnTo>
                    <a:pt x="3346" y="17"/>
                  </a:lnTo>
                  <a:lnTo>
                    <a:pt x="3348" y="20"/>
                  </a:lnTo>
                  <a:lnTo>
                    <a:pt x="3350" y="24"/>
                  </a:lnTo>
                  <a:lnTo>
                    <a:pt x="3351" y="27"/>
                  </a:lnTo>
                  <a:lnTo>
                    <a:pt x="3352" y="31"/>
                  </a:lnTo>
                  <a:lnTo>
                    <a:pt x="3352" y="91"/>
                  </a:lnTo>
                  <a:lnTo>
                    <a:pt x="3351" y="95"/>
                  </a:lnTo>
                  <a:lnTo>
                    <a:pt x="3350" y="98"/>
                  </a:lnTo>
                  <a:lnTo>
                    <a:pt x="3348" y="102"/>
                  </a:lnTo>
                  <a:lnTo>
                    <a:pt x="3346" y="105"/>
                  </a:lnTo>
                  <a:lnTo>
                    <a:pt x="3343" y="107"/>
                  </a:lnTo>
                  <a:lnTo>
                    <a:pt x="3340" y="109"/>
                  </a:lnTo>
                  <a:lnTo>
                    <a:pt x="3336" y="111"/>
                  </a:lnTo>
                  <a:lnTo>
                    <a:pt x="3331" y="111"/>
                  </a:lnTo>
                  <a:lnTo>
                    <a:pt x="2994" y="111"/>
                  </a:lnTo>
                  <a:lnTo>
                    <a:pt x="2994" y="329"/>
                  </a:lnTo>
                  <a:lnTo>
                    <a:pt x="3278" y="329"/>
                  </a:lnTo>
                  <a:lnTo>
                    <a:pt x="3282" y="329"/>
                  </a:lnTo>
                  <a:lnTo>
                    <a:pt x="3286" y="331"/>
                  </a:lnTo>
                  <a:lnTo>
                    <a:pt x="3289" y="333"/>
                  </a:lnTo>
                  <a:lnTo>
                    <a:pt x="3292" y="335"/>
                  </a:lnTo>
                  <a:lnTo>
                    <a:pt x="3295" y="338"/>
                  </a:lnTo>
                  <a:lnTo>
                    <a:pt x="3297" y="342"/>
                  </a:lnTo>
                  <a:lnTo>
                    <a:pt x="3298" y="345"/>
                  </a:lnTo>
                  <a:lnTo>
                    <a:pt x="3298" y="349"/>
                  </a:lnTo>
                  <a:lnTo>
                    <a:pt x="3298" y="409"/>
                  </a:lnTo>
                  <a:lnTo>
                    <a:pt x="3298" y="413"/>
                  </a:lnTo>
                  <a:lnTo>
                    <a:pt x="3297" y="417"/>
                  </a:lnTo>
                  <a:lnTo>
                    <a:pt x="3295" y="420"/>
                  </a:lnTo>
                  <a:lnTo>
                    <a:pt x="3292" y="423"/>
                  </a:lnTo>
                  <a:lnTo>
                    <a:pt x="3289" y="426"/>
                  </a:lnTo>
                  <a:lnTo>
                    <a:pt x="3286" y="427"/>
                  </a:lnTo>
                  <a:lnTo>
                    <a:pt x="3282" y="429"/>
                  </a:lnTo>
                  <a:lnTo>
                    <a:pt x="3278" y="429"/>
                  </a:lnTo>
                  <a:lnTo>
                    <a:pt x="2994" y="429"/>
                  </a:lnTo>
                  <a:lnTo>
                    <a:pt x="2994" y="658"/>
                  </a:lnTo>
                  <a:lnTo>
                    <a:pt x="3331" y="658"/>
                  </a:lnTo>
                  <a:lnTo>
                    <a:pt x="3336" y="658"/>
                  </a:lnTo>
                  <a:lnTo>
                    <a:pt x="3340" y="659"/>
                  </a:lnTo>
                  <a:lnTo>
                    <a:pt x="3343" y="661"/>
                  </a:lnTo>
                  <a:lnTo>
                    <a:pt x="3346" y="664"/>
                  </a:lnTo>
                  <a:lnTo>
                    <a:pt x="3348" y="667"/>
                  </a:lnTo>
                  <a:lnTo>
                    <a:pt x="3350" y="670"/>
                  </a:lnTo>
                  <a:lnTo>
                    <a:pt x="3351" y="674"/>
                  </a:lnTo>
                  <a:lnTo>
                    <a:pt x="3352" y="678"/>
                  </a:lnTo>
                  <a:lnTo>
                    <a:pt x="3352" y="736"/>
                  </a:lnTo>
                  <a:lnTo>
                    <a:pt x="3351" y="740"/>
                  </a:lnTo>
                  <a:lnTo>
                    <a:pt x="3350" y="744"/>
                  </a:lnTo>
                  <a:lnTo>
                    <a:pt x="3348" y="747"/>
                  </a:lnTo>
                  <a:lnTo>
                    <a:pt x="3346" y="750"/>
                  </a:lnTo>
                  <a:lnTo>
                    <a:pt x="3343" y="753"/>
                  </a:lnTo>
                  <a:lnTo>
                    <a:pt x="3340" y="755"/>
                  </a:lnTo>
                  <a:lnTo>
                    <a:pt x="3336" y="756"/>
                  </a:lnTo>
                  <a:lnTo>
                    <a:pt x="3331" y="757"/>
                  </a:lnTo>
                  <a:lnTo>
                    <a:pt x="2905" y="757"/>
                  </a:lnTo>
                  <a:lnTo>
                    <a:pt x="2901" y="756"/>
                  </a:lnTo>
                  <a:lnTo>
                    <a:pt x="2897" y="755"/>
                  </a:lnTo>
                  <a:lnTo>
                    <a:pt x="2893" y="753"/>
                  </a:lnTo>
                  <a:lnTo>
                    <a:pt x="2891" y="750"/>
                  </a:lnTo>
                  <a:lnTo>
                    <a:pt x="2888" y="747"/>
                  </a:lnTo>
                  <a:lnTo>
                    <a:pt x="2886" y="744"/>
                  </a:lnTo>
                  <a:lnTo>
                    <a:pt x="2885" y="740"/>
                  </a:lnTo>
                  <a:lnTo>
                    <a:pt x="2885" y="736"/>
                  </a:lnTo>
                  <a:lnTo>
                    <a:pt x="2885" y="3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88570213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PIC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6763" y="5085230"/>
            <a:ext cx="3889037" cy="936130"/>
          </a:xfrm>
        </p:spPr>
        <p:txBody>
          <a:bodyPr anchor="t" anchorCtr="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E5E87FD4-3FE5-4E7C-82C1-8B972D4C0D02}" type="datetime1">
              <a:rPr lang="fi-FI" smtClean="0"/>
              <a:t>31.3.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Presentation name and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50B285B-2D20-4CC2-81CD-215A1F1E113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>
            <a:off x="5375920" y="0"/>
            <a:ext cx="6816080" cy="6777038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grpSp>
        <p:nvGrpSpPr>
          <p:cNvPr id="12" name="Group 11"/>
          <p:cNvGrpSpPr>
            <a:grpSpLocks noChangeAspect="1"/>
          </p:cNvGrpSpPr>
          <p:nvPr userDrawn="1"/>
        </p:nvGrpSpPr>
        <p:grpSpPr>
          <a:xfrm>
            <a:off x="767260" y="566640"/>
            <a:ext cx="1703100" cy="270000"/>
            <a:chOff x="1455738" y="2698750"/>
            <a:chExt cx="9272588" cy="1470025"/>
          </a:xfrm>
          <a:solidFill>
            <a:schemeClr val="bg1"/>
          </a:solidFill>
        </p:grpSpPr>
        <p:sp>
          <p:nvSpPr>
            <p:cNvPr id="13" name="Freeform 6"/>
            <p:cNvSpPr>
              <a:spLocks noEditPoints="1"/>
            </p:cNvSpPr>
            <p:nvPr userDrawn="1"/>
          </p:nvSpPr>
          <p:spPr bwMode="auto">
            <a:xfrm>
              <a:off x="1455738" y="2698750"/>
              <a:ext cx="2762250" cy="1416050"/>
            </a:xfrm>
            <a:custGeom>
              <a:avLst/>
              <a:gdLst>
                <a:gd name="T0" fmla="*/ 1740 w 1740"/>
                <a:gd name="T1" fmla="*/ 192 h 892"/>
                <a:gd name="T2" fmla="*/ 1591 w 1740"/>
                <a:gd name="T3" fmla="*/ 483 h 892"/>
                <a:gd name="T4" fmla="*/ 1457 w 1740"/>
                <a:gd name="T5" fmla="*/ 741 h 892"/>
                <a:gd name="T6" fmla="*/ 1047 w 1740"/>
                <a:gd name="T7" fmla="*/ 709 h 892"/>
                <a:gd name="T8" fmla="*/ 607 w 1740"/>
                <a:gd name="T9" fmla="*/ 713 h 892"/>
                <a:gd name="T10" fmla="*/ 257 w 1740"/>
                <a:gd name="T11" fmla="*/ 742 h 892"/>
                <a:gd name="T12" fmla="*/ 149 w 1740"/>
                <a:gd name="T13" fmla="*/ 483 h 892"/>
                <a:gd name="T14" fmla="*/ 0 w 1740"/>
                <a:gd name="T15" fmla="*/ 189 h 892"/>
                <a:gd name="T16" fmla="*/ 36 w 1740"/>
                <a:gd name="T17" fmla="*/ 180 h 892"/>
                <a:gd name="T18" fmla="*/ 121 w 1740"/>
                <a:gd name="T19" fmla="*/ 218 h 892"/>
                <a:gd name="T20" fmla="*/ 194 w 1740"/>
                <a:gd name="T21" fmla="*/ 280 h 892"/>
                <a:gd name="T22" fmla="*/ 249 w 1740"/>
                <a:gd name="T23" fmla="*/ 235 h 892"/>
                <a:gd name="T24" fmla="*/ 335 w 1740"/>
                <a:gd name="T25" fmla="*/ 232 h 892"/>
                <a:gd name="T26" fmla="*/ 390 w 1740"/>
                <a:gd name="T27" fmla="*/ 272 h 892"/>
                <a:gd name="T28" fmla="*/ 362 w 1740"/>
                <a:gd name="T29" fmla="*/ 310 h 892"/>
                <a:gd name="T30" fmla="*/ 334 w 1740"/>
                <a:gd name="T31" fmla="*/ 386 h 892"/>
                <a:gd name="T32" fmla="*/ 344 w 1740"/>
                <a:gd name="T33" fmla="*/ 462 h 892"/>
                <a:gd name="T34" fmla="*/ 405 w 1740"/>
                <a:gd name="T35" fmla="*/ 538 h 892"/>
                <a:gd name="T36" fmla="*/ 492 w 1740"/>
                <a:gd name="T37" fmla="*/ 572 h 892"/>
                <a:gd name="T38" fmla="*/ 590 w 1740"/>
                <a:gd name="T39" fmla="*/ 561 h 892"/>
                <a:gd name="T40" fmla="*/ 658 w 1740"/>
                <a:gd name="T41" fmla="*/ 519 h 892"/>
                <a:gd name="T42" fmla="*/ 706 w 1740"/>
                <a:gd name="T43" fmla="*/ 439 h 892"/>
                <a:gd name="T44" fmla="*/ 704 w 1740"/>
                <a:gd name="T45" fmla="*/ 352 h 892"/>
                <a:gd name="T46" fmla="*/ 653 w 1740"/>
                <a:gd name="T47" fmla="*/ 275 h 892"/>
                <a:gd name="T48" fmla="*/ 596 w 1740"/>
                <a:gd name="T49" fmla="*/ 239 h 892"/>
                <a:gd name="T50" fmla="*/ 615 w 1740"/>
                <a:gd name="T51" fmla="*/ 201 h 892"/>
                <a:gd name="T52" fmla="*/ 678 w 1740"/>
                <a:gd name="T53" fmla="*/ 167 h 892"/>
                <a:gd name="T54" fmla="*/ 760 w 1740"/>
                <a:gd name="T55" fmla="*/ 178 h 892"/>
                <a:gd name="T56" fmla="*/ 790 w 1740"/>
                <a:gd name="T57" fmla="*/ 100 h 892"/>
                <a:gd name="T58" fmla="*/ 822 w 1740"/>
                <a:gd name="T59" fmla="*/ 39 h 892"/>
                <a:gd name="T60" fmla="*/ 871 w 1740"/>
                <a:gd name="T61" fmla="*/ 0 h 892"/>
                <a:gd name="T62" fmla="*/ 920 w 1740"/>
                <a:gd name="T63" fmla="*/ 39 h 892"/>
                <a:gd name="T64" fmla="*/ 962 w 1740"/>
                <a:gd name="T65" fmla="*/ 152 h 892"/>
                <a:gd name="T66" fmla="*/ 1027 w 1740"/>
                <a:gd name="T67" fmla="*/ 165 h 892"/>
                <a:gd name="T68" fmla="*/ 1093 w 1740"/>
                <a:gd name="T69" fmla="*/ 177 h 892"/>
                <a:gd name="T70" fmla="*/ 1145 w 1740"/>
                <a:gd name="T71" fmla="*/ 228 h 892"/>
                <a:gd name="T72" fmla="*/ 1134 w 1740"/>
                <a:gd name="T73" fmla="*/ 245 h 892"/>
                <a:gd name="T74" fmla="*/ 1062 w 1740"/>
                <a:gd name="T75" fmla="*/ 301 h 892"/>
                <a:gd name="T76" fmla="*/ 1033 w 1740"/>
                <a:gd name="T77" fmla="*/ 364 h 892"/>
                <a:gd name="T78" fmla="*/ 1037 w 1740"/>
                <a:gd name="T79" fmla="*/ 447 h 892"/>
                <a:gd name="T80" fmla="*/ 1076 w 1740"/>
                <a:gd name="T81" fmla="*/ 513 h 892"/>
                <a:gd name="T82" fmla="*/ 1159 w 1740"/>
                <a:gd name="T83" fmla="*/ 564 h 892"/>
                <a:gd name="T84" fmla="*/ 1257 w 1740"/>
                <a:gd name="T85" fmla="*/ 570 h 892"/>
                <a:gd name="T86" fmla="*/ 1348 w 1740"/>
                <a:gd name="T87" fmla="*/ 527 h 892"/>
                <a:gd name="T88" fmla="*/ 1393 w 1740"/>
                <a:gd name="T89" fmla="*/ 470 h 892"/>
                <a:gd name="T90" fmla="*/ 1406 w 1740"/>
                <a:gd name="T91" fmla="*/ 386 h 892"/>
                <a:gd name="T92" fmla="*/ 1378 w 1740"/>
                <a:gd name="T93" fmla="*/ 310 h 892"/>
                <a:gd name="T94" fmla="*/ 1350 w 1740"/>
                <a:gd name="T95" fmla="*/ 270 h 892"/>
                <a:gd name="T96" fmla="*/ 1400 w 1740"/>
                <a:gd name="T97" fmla="*/ 234 h 892"/>
                <a:gd name="T98" fmla="*/ 1468 w 1740"/>
                <a:gd name="T99" fmla="*/ 228 h 892"/>
                <a:gd name="T100" fmla="*/ 1530 w 1740"/>
                <a:gd name="T101" fmla="*/ 261 h 892"/>
                <a:gd name="T102" fmla="*/ 1602 w 1740"/>
                <a:gd name="T103" fmla="*/ 232 h 892"/>
                <a:gd name="T104" fmla="*/ 1696 w 1740"/>
                <a:gd name="T105" fmla="*/ 181 h 892"/>
                <a:gd name="T106" fmla="*/ 1458 w 1740"/>
                <a:gd name="T107" fmla="*/ 812 h 892"/>
                <a:gd name="T108" fmla="*/ 1432 w 1740"/>
                <a:gd name="T109" fmla="*/ 892 h 892"/>
                <a:gd name="T110" fmla="*/ 946 w 1740"/>
                <a:gd name="T111" fmla="*/ 861 h 892"/>
                <a:gd name="T112" fmla="*/ 313 w 1740"/>
                <a:gd name="T113" fmla="*/ 892 h 892"/>
                <a:gd name="T114" fmla="*/ 280 w 1740"/>
                <a:gd name="T115" fmla="*/ 816 h 892"/>
                <a:gd name="T116" fmla="*/ 457 w 1740"/>
                <a:gd name="T117" fmla="*/ 790 h 892"/>
                <a:gd name="T118" fmla="*/ 914 w 1740"/>
                <a:gd name="T119" fmla="*/ 772 h 892"/>
                <a:gd name="T120" fmla="*/ 1449 w 1740"/>
                <a:gd name="T121" fmla="*/ 806 h 8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40" h="892">
                  <a:moveTo>
                    <a:pt x="1729" y="178"/>
                  </a:moveTo>
                  <a:lnTo>
                    <a:pt x="1734" y="179"/>
                  </a:lnTo>
                  <a:lnTo>
                    <a:pt x="1735" y="180"/>
                  </a:lnTo>
                  <a:lnTo>
                    <a:pt x="1737" y="181"/>
                  </a:lnTo>
                  <a:lnTo>
                    <a:pt x="1738" y="182"/>
                  </a:lnTo>
                  <a:lnTo>
                    <a:pt x="1739" y="184"/>
                  </a:lnTo>
                  <a:lnTo>
                    <a:pt x="1740" y="186"/>
                  </a:lnTo>
                  <a:lnTo>
                    <a:pt x="1740" y="188"/>
                  </a:lnTo>
                  <a:lnTo>
                    <a:pt x="1740" y="192"/>
                  </a:lnTo>
                  <a:lnTo>
                    <a:pt x="1738" y="194"/>
                  </a:lnTo>
                  <a:lnTo>
                    <a:pt x="1718" y="230"/>
                  </a:lnTo>
                  <a:lnTo>
                    <a:pt x="1698" y="266"/>
                  </a:lnTo>
                  <a:lnTo>
                    <a:pt x="1678" y="302"/>
                  </a:lnTo>
                  <a:lnTo>
                    <a:pt x="1659" y="338"/>
                  </a:lnTo>
                  <a:lnTo>
                    <a:pt x="1641" y="375"/>
                  </a:lnTo>
                  <a:lnTo>
                    <a:pt x="1624" y="411"/>
                  </a:lnTo>
                  <a:lnTo>
                    <a:pt x="1607" y="447"/>
                  </a:lnTo>
                  <a:lnTo>
                    <a:pt x="1591" y="483"/>
                  </a:lnTo>
                  <a:lnTo>
                    <a:pt x="1561" y="552"/>
                  </a:lnTo>
                  <a:lnTo>
                    <a:pt x="1534" y="618"/>
                  </a:lnTo>
                  <a:lnTo>
                    <a:pt x="1510" y="680"/>
                  </a:lnTo>
                  <a:lnTo>
                    <a:pt x="1489" y="736"/>
                  </a:lnTo>
                  <a:lnTo>
                    <a:pt x="1488" y="739"/>
                  </a:lnTo>
                  <a:lnTo>
                    <a:pt x="1485" y="741"/>
                  </a:lnTo>
                  <a:lnTo>
                    <a:pt x="1482" y="743"/>
                  </a:lnTo>
                  <a:lnTo>
                    <a:pt x="1479" y="743"/>
                  </a:lnTo>
                  <a:lnTo>
                    <a:pt x="1457" y="741"/>
                  </a:lnTo>
                  <a:lnTo>
                    <a:pt x="1412" y="736"/>
                  </a:lnTo>
                  <a:lnTo>
                    <a:pt x="1385" y="733"/>
                  </a:lnTo>
                  <a:lnTo>
                    <a:pt x="1356" y="730"/>
                  </a:lnTo>
                  <a:lnTo>
                    <a:pt x="1324" y="727"/>
                  </a:lnTo>
                  <a:lnTo>
                    <a:pt x="1289" y="724"/>
                  </a:lnTo>
                  <a:lnTo>
                    <a:pt x="1214" y="718"/>
                  </a:lnTo>
                  <a:lnTo>
                    <a:pt x="1133" y="713"/>
                  </a:lnTo>
                  <a:lnTo>
                    <a:pt x="1090" y="711"/>
                  </a:lnTo>
                  <a:lnTo>
                    <a:pt x="1047" y="709"/>
                  </a:lnTo>
                  <a:lnTo>
                    <a:pt x="1003" y="708"/>
                  </a:lnTo>
                  <a:lnTo>
                    <a:pt x="959" y="707"/>
                  </a:lnTo>
                  <a:lnTo>
                    <a:pt x="915" y="706"/>
                  </a:lnTo>
                  <a:lnTo>
                    <a:pt x="871" y="706"/>
                  </a:lnTo>
                  <a:lnTo>
                    <a:pt x="826" y="706"/>
                  </a:lnTo>
                  <a:lnTo>
                    <a:pt x="782" y="707"/>
                  </a:lnTo>
                  <a:lnTo>
                    <a:pt x="738" y="708"/>
                  </a:lnTo>
                  <a:lnTo>
                    <a:pt x="693" y="709"/>
                  </a:lnTo>
                  <a:lnTo>
                    <a:pt x="607" y="713"/>
                  </a:lnTo>
                  <a:lnTo>
                    <a:pt x="526" y="718"/>
                  </a:lnTo>
                  <a:lnTo>
                    <a:pt x="488" y="721"/>
                  </a:lnTo>
                  <a:lnTo>
                    <a:pt x="451" y="724"/>
                  </a:lnTo>
                  <a:lnTo>
                    <a:pt x="384" y="730"/>
                  </a:lnTo>
                  <a:lnTo>
                    <a:pt x="328" y="736"/>
                  </a:lnTo>
                  <a:lnTo>
                    <a:pt x="284" y="741"/>
                  </a:lnTo>
                  <a:lnTo>
                    <a:pt x="263" y="743"/>
                  </a:lnTo>
                  <a:lnTo>
                    <a:pt x="259" y="743"/>
                  </a:lnTo>
                  <a:lnTo>
                    <a:pt x="257" y="742"/>
                  </a:lnTo>
                  <a:lnTo>
                    <a:pt x="255" y="741"/>
                  </a:lnTo>
                  <a:lnTo>
                    <a:pt x="254" y="740"/>
                  </a:lnTo>
                  <a:lnTo>
                    <a:pt x="253" y="739"/>
                  </a:lnTo>
                  <a:lnTo>
                    <a:pt x="251" y="736"/>
                  </a:lnTo>
                  <a:lnTo>
                    <a:pt x="230" y="680"/>
                  </a:lnTo>
                  <a:lnTo>
                    <a:pt x="206" y="618"/>
                  </a:lnTo>
                  <a:lnTo>
                    <a:pt x="179" y="552"/>
                  </a:lnTo>
                  <a:lnTo>
                    <a:pt x="164" y="518"/>
                  </a:lnTo>
                  <a:lnTo>
                    <a:pt x="149" y="483"/>
                  </a:lnTo>
                  <a:lnTo>
                    <a:pt x="116" y="411"/>
                  </a:lnTo>
                  <a:lnTo>
                    <a:pt x="99" y="374"/>
                  </a:lnTo>
                  <a:lnTo>
                    <a:pt x="81" y="338"/>
                  </a:lnTo>
                  <a:lnTo>
                    <a:pt x="62" y="302"/>
                  </a:lnTo>
                  <a:lnTo>
                    <a:pt x="42" y="266"/>
                  </a:lnTo>
                  <a:lnTo>
                    <a:pt x="22" y="230"/>
                  </a:lnTo>
                  <a:lnTo>
                    <a:pt x="2" y="194"/>
                  </a:lnTo>
                  <a:lnTo>
                    <a:pt x="1" y="191"/>
                  </a:lnTo>
                  <a:lnTo>
                    <a:pt x="0" y="189"/>
                  </a:lnTo>
                  <a:lnTo>
                    <a:pt x="0" y="186"/>
                  </a:lnTo>
                  <a:lnTo>
                    <a:pt x="2" y="183"/>
                  </a:lnTo>
                  <a:lnTo>
                    <a:pt x="3" y="181"/>
                  </a:lnTo>
                  <a:lnTo>
                    <a:pt x="6" y="179"/>
                  </a:lnTo>
                  <a:lnTo>
                    <a:pt x="8" y="178"/>
                  </a:lnTo>
                  <a:lnTo>
                    <a:pt x="11" y="178"/>
                  </a:lnTo>
                  <a:lnTo>
                    <a:pt x="19" y="178"/>
                  </a:lnTo>
                  <a:lnTo>
                    <a:pt x="28" y="179"/>
                  </a:lnTo>
                  <a:lnTo>
                    <a:pt x="36" y="180"/>
                  </a:lnTo>
                  <a:lnTo>
                    <a:pt x="44" y="181"/>
                  </a:lnTo>
                  <a:lnTo>
                    <a:pt x="52" y="183"/>
                  </a:lnTo>
                  <a:lnTo>
                    <a:pt x="59" y="186"/>
                  </a:lnTo>
                  <a:lnTo>
                    <a:pt x="74" y="191"/>
                  </a:lnTo>
                  <a:lnTo>
                    <a:pt x="82" y="194"/>
                  </a:lnTo>
                  <a:lnTo>
                    <a:pt x="89" y="198"/>
                  </a:lnTo>
                  <a:lnTo>
                    <a:pt x="102" y="205"/>
                  </a:lnTo>
                  <a:lnTo>
                    <a:pt x="115" y="214"/>
                  </a:lnTo>
                  <a:lnTo>
                    <a:pt x="121" y="218"/>
                  </a:lnTo>
                  <a:lnTo>
                    <a:pt x="127" y="223"/>
                  </a:lnTo>
                  <a:lnTo>
                    <a:pt x="133" y="227"/>
                  </a:lnTo>
                  <a:lnTo>
                    <a:pt x="138" y="232"/>
                  </a:lnTo>
                  <a:lnTo>
                    <a:pt x="149" y="241"/>
                  </a:lnTo>
                  <a:lnTo>
                    <a:pt x="167" y="259"/>
                  </a:lnTo>
                  <a:lnTo>
                    <a:pt x="174" y="267"/>
                  </a:lnTo>
                  <a:lnTo>
                    <a:pt x="181" y="275"/>
                  </a:lnTo>
                  <a:lnTo>
                    <a:pt x="190" y="287"/>
                  </a:lnTo>
                  <a:lnTo>
                    <a:pt x="194" y="280"/>
                  </a:lnTo>
                  <a:lnTo>
                    <a:pt x="199" y="273"/>
                  </a:lnTo>
                  <a:lnTo>
                    <a:pt x="204" y="267"/>
                  </a:lnTo>
                  <a:lnTo>
                    <a:pt x="210" y="261"/>
                  </a:lnTo>
                  <a:lnTo>
                    <a:pt x="216" y="256"/>
                  </a:lnTo>
                  <a:lnTo>
                    <a:pt x="222" y="251"/>
                  </a:lnTo>
                  <a:lnTo>
                    <a:pt x="228" y="246"/>
                  </a:lnTo>
                  <a:lnTo>
                    <a:pt x="235" y="242"/>
                  </a:lnTo>
                  <a:lnTo>
                    <a:pt x="242" y="238"/>
                  </a:lnTo>
                  <a:lnTo>
                    <a:pt x="249" y="235"/>
                  </a:lnTo>
                  <a:lnTo>
                    <a:pt x="264" y="230"/>
                  </a:lnTo>
                  <a:lnTo>
                    <a:pt x="272" y="228"/>
                  </a:lnTo>
                  <a:lnTo>
                    <a:pt x="280" y="227"/>
                  </a:lnTo>
                  <a:lnTo>
                    <a:pt x="288" y="226"/>
                  </a:lnTo>
                  <a:lnTo>
                    <a:pt x="296" y="226"/>
                  </a:lnTo>
                  <a:lnTo>
                    <a:pt x="309" y="226"/>
                  </a:lnTo>
                  <a:lnTo>
                    <a:pt x="316" y="227"/>
                  </a:lnTo>
                  <a:lnTo>
                    <a:pt x="322" y="228"/>
                  </a:lnTo>
                  <a:lnTo>
                    <a:pt x="335" y="232"/>
                  </a:lnTo>
                  <a:lnTo>
                    <a:pt x="346" y="236"/>
                  </a:lnTo>
                  <a:lnTo>
                    <a:pt x="358" y="242"/>
                  </a:lnTo>
                  <a:lnTo>
                    <a:pt x="368" y="249"/>
                  </a:lnTo>
                  <a:lnTo>
                    <a:pt x="374" y="253"/>
                  </a:lnTo>
                  <a:lnTo>
                    <a:pt x="378" y="257"/>
                  </a:lnTo>
                  <a:lnTo>
                    <a:pt x="388" y="266"/>
                  </a:lnTo>
                  <a:lnTo>
                    <a:pt x="389" y="268"/>
                  </a:lnTo>
                  <a:lnTo>
                    <a:pt x="390" y="270"/>
                  </a:lnTo>
                  <a:lnTo>
                    <a:pt x="390" y="272"/>
                  </a:lnTo>
                  <a:lnTo>
                    <a:pt x="390" y="274"/>
                  </a:lnTo>
                  <a:lnTo>
                    <a:pt x="390" y="276"/>
                  </a:lnTo>
                  <a:lnTo>
                    <a:pt x="389" y="278"/>
                  </a:lnTo>
                  <a:lnTo>
                    <a:pt x="388" y="280"/>
                  </a:lnTo>
                  <a:lnTo>
                    <a:pt x="387" y="281"/>
                  </a:lnTo>
                  <a:lnTo>
                    <a:pt x="380" y="288"/>
                  </a:lnTo>
                  <a:lnTo>
                    <a:pt x="374" y="295"/>
                  </a:lnTo>
                  <a:lnTo>
                    <a:pt x="368" y="303"/>
                  </a:lnTo>
                  <a:lnTo>
                    <a:pt x="362" y="310"/>
                  </a:lnTo>
                  <a:lnTo>
                    <a:pt x="357" y="318"/>
                  </a:lnTo>
                  <a:lnTo>
                    <a:pt x="353" y="326"/>
                  </a:lnTo>
                  <a:lnTo>
                    <a:pt x="349" y="334"/>
                  </a:lnTo>
                  <a:lnTo>
                    <a:pt x="345" y="342"/>
                  </a:lnTo>
                  <a:lnTo>
                    <a:pt x="342" y="351"/>
                  </a:lnTo>
                  <a:lnTo>
                    <a:pt x="339" y="360"/>
                  </a:lnTo>
                  <a:lnTo>
                    <a:pt x="337" y="368"/>
                  </a:lnTo>
                  <a:lnTo>
                    <a:pt x="335" y="377"/>
                  </a:lnTo>
                  <a:lnTo>
                    <a:pt x="334" y="386"/>
                  </a:lnTo>
                  <a:lnTo>
                    <a:pt x="333" y="395"/>
                  </a:lnTo>
                  <a:lnTo>
                    <a:pt x="333" y="404"/>
                  </a:lnTo>
                  <a:lnTo>
                    <a:pt x="333" y="414"/>
                  </a:lnTo>
                  <a:lnTo>
                    <a:pt x="334" y="422"/>
                  </a:lnTo>
                  <a:lnTo>
                    <a:pt x="335" y="430"/>
                  </a:lnTo>
                  <a:lnTo>
                    <a:pt x="337" y="438"/>
                  </a:lnTo>
                  <a:lnTo>
                    <a:pt x="339" y="446"/>
                  </a:lnTo>
                  <a:lnTo>
                    <a:pt x="342" y="454"/>
                  </a:lnTo>
                  <a:lnTo>
                    <a:pt x="344" y="462"/>
                  </a:lnTo>
                  <a:lnTo>
                    <a:pt x="348" y="470"/>
                  </a:lnTo>
                  <a:lnTo>
                    <a:pt x="351" y="477"/>
                  </a:lnTo>
                  <a:lnTo>
                    <a:pt x="355" y="484"/>
                  </a:lnTo>
                  <a:lnTo>
                    <a:pt x="360" y="491"/>
                  </a:lnTo>
                  <a:lnTo>
                    <a:pt x="369" y="504"/>
                  </a:lnTo>
                  <a:lnTo>
                    <a:pt x="380" y="516"/>
                  </a:lnTo>
                  <a:lnTo>
                    <a:pt x="386" y="522"/>
                  </a:lnTo>
                  <a:lnTo>
                    <a:pt x="392" y="527"/>
                  </a:lnTo>
                  <a:lnTo>
                    <a:pt x="405" y="538"/>
                  </a:lnTo>
                  <a:lnTo>
                    <a:pt x="412" y="542"/>
                  </a:lnTo>
                  <a:lnTo>
                    <a:pt x="419" y="547"/>
                  </a:lnTo>
                  <a:lnTo>
                    <a:pt x="434" y="555"/>
                  </a:lnTo>
                  <a:lnTo>
                    <a:pt x="442" y="558"/>
                  </a:lnTo>
                  <a:lnTo>
                    <a:pt x="450" y="561"/>
                  </a:lnTo>
                  <a:lnTo>
                    <a:pt x="466" y="566"/>
                  </a:lnTo>
                  <a:lnTo>
                    <a:pt x="475" y="569"/>
                  </a:lnTo>
                  <a:lnTo>
                    <a:pt x="484" y="570"/>
                  </a:lnTo>
                  <a:lnTo>
                    <a:pt x="492" y="572"/>
                  </a:lnTo>
                  <a:lnTo>
                    <a:pt x="501" y="573"/>
                  </a:lnTo>
                  <a:lnTo>
                    <a:pt x="519" y="573"/>
                  </a:lnTo>
                  <a:lnTo>
                    <a:pt x="534" y="573"/>
                  </a:lnTo>
                  <a:lnTo>
                    <a:pt x="544" y="572"/>
                  </a:lnTo>
                  <a:lnTo>
                    <a:pt x="553" y="571"/>
                  </a:lnTo>
                  <a:lnTo>
                    <a:pt x="563" y="569"/>
                  </a:lnTo>
                  <a:lnTo>
                    <a:pt x="572" y="567"/>
                  </a:lnTo>
                  <a:lnTo>
                    <a:pt x="581" y="564"/>
                  </a:lnTo>
                  <a:lnTo>
                    <a:pt x="590" y="561"/>
                  </a:lnTo>
                  <a:lnTo>
                    <a:pt x="598" y="558"/>
                  </a:lnTo>
                  <a:lnTo>
                    <a:pt x="607" y="554"/>
                  </a:lnTo>
                  <a:lnTo>
                    <a:pt x="615" y="550"/>
                  </a:lnTo>
                  <a:lnTo>
                    <a:pt x="623" y="546"/>
                  </a:lnTo>
                  <a:lnTo>
                    <a:pt x="630" y="541"/>
                  </a:lnTo>
                  <a:lnTo>
                    <a:pt x="637" y="536"/>
                  </a:lnTo>
                  <a:lnTo>
                    <a:pt x="645" y="531"/>
                  </a:lnTo>
                  <a:lnTo>
                    <a:pt x="651" y="525"/>
                  </a:lnTo>
                  <a:lnTo>
                    <a:pt x="658" y="519"/>
                  </a:lnTo>
                  <a:lnTo>
                    <a:pt x="664" y="513"/>
                  </a:lnTo>
                  <a:lnTo>
                    <a:pt x="670" y="507"/>
                  </a:lnTo>
                  <a:lnTo>
                    <a:pt x="675" y="500"/>
                  </a:lnTo>
                  <a:lnTo>
                    <a:pt x="685" y="486"/>
                  </a:lnTo>
                  <a:lnTo>
                    <a:pt x="690" y="479"/>
                  </a:lnTo>
                  <a:lnTo>
                    <a:pt x="694" y="471"/>
                  </a:lnTo>
                  <a:lnTo>
                    <a:pt x="701" y="455"/>
                  </a:lnTo>
                  <a:lnTo>
                    <a:pt x="703" y="447"/>
                  </a:lnTo>
                  <a:lnTo>
                    <a:pt x="706" y="439"/>
                  </a:lnTo>
                  <a:lnTo>
                    <a:pt x="708" y="430"/>
                  </a:lnTo>
                  <a:lnTo>
                    <a:pt x="709" y="422"/>
                  </a:lnTo>
                  <a:lnTo>
                    <a:pt x="710" y="413"/>
                  </a:lnTo>
                  <a:lnTo>
                    <a:pt x="711" y="405"/>
                  </a:lnTo>
                  <a:lnTo>
                    <a:pt x="711" y="396"/>
                  </a:lnTo>
                  <a:lnTo>
                    <a:pt x="711" y="387"/>
                  </a:lnTo>
                  <a:lnTo>
                    <a:pt x="709" y="375"/>
                  </a:lnTo>
                  <a:lnTo>
                    <a:pt x="707" y="364"/>
                  </a:lnTo>
                  <a:lnTo>
                    <a:pt x="704" y="352"/>
                  </a:lnTo>
                  <a:lnTo>
                    <a:pt x="701" y="341"/>
                  </a:lnTo>
                  <a:lnTo>
                    <a:pt x="696" y="331"/>
                  </a:lnTo>
                  <a:lnTo>
                    <a:pt x="691" y="320"/>
                  </a:lnTo>
                  <a:lnTo>
                    <a:pt x="685" y="310"/>
                  </a:lnTo>
                  <a:lnTo>
                    <a:pt x="678" y="301"/>
                  </a:lnTo>
                  <a:lnTo>
                    <a:pt x="674" y="296"/>
                  </a:lnTo>
                  <a:lnTo>
                    <a:pt x="670" y="292"/>
                  </a:lnTo>
                  <a:lnTo>
                    <a:pt x="662" y="283"/>
                  </a:lnTo>
                  <a:lnTo>
                    <a:pt x="653" y="275"/>
                  </a:lnTo>
                  <a:lnTo>
                    <a:pt x="649" y="271"/>
                  </a:lnTo>
                  <a:lnTo>
                    <a:pt x="644" y="267"/>
                  </a:lnTo>
                  <a:lnTo>
                    <a:pt x="634" y="260"/>
                  </a:lnTo>
                  <a:lnTo>
                    <a:pt x="624" y="254"/>
                  </a:lnTo>
                  <a:lnTo>
                    <a:pt x="612" y="248"/>
                  </a:lnTo>
                  <a:lnTo>
                    <a:pt x="601" y="243"/>
                  </a:lnTo>
                  <a:lnTo>
                    <a:pt x="599" y="242"/>
                  </a:lnTo>
                  <a:lnTo>
                    <a:pt x="597" y="240"/>
                  </a:lnTo>
                  <a:lnTo>
                    <a:pt x="596" y="239"/>
                  </a:lnTo>
                  <a:lnTo>
                    <a:pt x="595" y="237"/>
                  </a:lnTo>
                  <a:lnTo>
                    <a:pt x="594" y="234"/>
                  </a:lnTo>
                  <a:lnTo>
                    <a:pt x="594" y="232"/>
                  </a:lnTo>
                  <a:lnTo>
                    <a:pt x="595" y="230"/>
                  </a:lnTo>
                  <a:lnTo>
                    <a:pt x="595" y="228"/>
                  </a:lnTo>
                  <a:lnTo>
                    <a:pt x="600" y="221"/>
                  </a:lnTo>
                  <a:lnTo>
                    <a:pt x="604" y="214"/>
                  </a:lnTo>
                  <a:lnTo>
                    <a:pt x="610" y="207"/>
                  </a:lnTo>
                  <a:lnTo>
                    <a:pt x="615" y="201"/>
                  </a:lnTo>
                  <a:lnTo>
                    <a:pt x="621" y="196"/>
                  </a:lnTo>
                  <a:lnTo>
                    <a:pt x="627" y="190"/>
                  </a:lnTo>
                  <a:lnTo>
                    <a:pt x="634" y="186"/>
                  </a:lnTo>
                  <a:lnTo>
                    <a:pt x="641" y="181"/>
                  </a:lnTo>
                  <a:lnTo>
                    <a:pt x="648" y="177"/>
                  </a:lnTo>
                  <a:lnTo>
                    <a:pt x="655" y="174"/>
                  </a:lnTo>
                  <a:lnTo>
                    <a:pt x="663" y="171"/>
                  </a:lnTo>
                  <a:lnTo>
                    <a:pt x="670" y="169"/>
                  </a:lnTo>
                  <a:lnTo>
                    <a:pt x="678" y="167"/>
                  </a:lnTo>
                  <a:lnTo>
                    <a:pt x="686" y="165"/>
                  </a:lnTo>
                  <a:lnTo>
                    <a:pt x="695" y="164"/>
                  </a:lnTo>
                  <a:lnTo>
                    <a:pt x="703" y="164"/>
                  </a:lnTo>
                  <a:lnTo>
                    <a:pt x="713" y="165"/>
                  </a:lnTo>
                  <a:lnTo>
                    <a:pt x="722" y="166"/>
                  </a:lnTo>
                  <a:lnTo>
                    <a:pt x="733" y="168"/>
                  </a:lnTo>
                  <a:lnTo>
                    <a:pt x="742" y="170"/>
                  </a:lnTo>
                  <a:lnTo>
                    <a:pt x="751" y="174"/>
                  </a:lnTo>
                  <a:lnTo>
                    <a:pt x="760" y="178"/>
                  </a:lnTo>
                  <a:lnTo>
                    <a:pt x="768" y="182"/>
                  </a:lnTo>
                  <a:lnTo>
                    <a:pt x="776" y="188"/>
                  </a:lnTo>
                  <a:lnTo>
                    <a:pt x="777" y="173"/>
                  </a:lnTo>
                  <a:lnTo>
                    <a:pt x="778" y="163"/>
                  </a:lnTo>
                  <a:lnTo>
                    <a:pt x="779" y="152"/>
                  </a:lnTo>
                  <a:lnTo>
                    <a:pt x="781" y="140"/>
                  </a:lnTo>
                  <a:lnTo>
                    <a:pt x="783" y="127"/>
                  </a:lnTo>
                  <a:lnTo>
                    <a:pt x="786" y="114"/>
                  </a:lnTo>
                  <a:lnTo>
                    <a:pt x="790" y="100"/>
                  </a:lnTo>
                  <a:lnTo>
                    <a:pt x="795" y="86"/>
                  </a:lnTo>
                  <a:lnTo>
                    <a:pt x="798" y="79"/>
                  </a:lnTo>
                  <a:lnTo>
                    <a:pt x="801" y="72"/>
                  </a:lnTo>
                  <a:lnTo>
                    <a:pt x="805" y="66"/>
                  </a:lnTo>
                  <a:lnTo>
                    <a:pt x="808" y="59"/>
                  </a:lnTo>
                  <a:lnTo>
                    <a:pt x="812" y="52"/>
                  </a:lnTo>
                  <a:lnTo>
                    <a:pt x="815" y="49"/>
                  </a:lnTo>
                  <a:lnTo>
                    <a:pt x="817" y="46"/>
                  </a:lnTo>
                  <a:lnTo>
                    <a:pt x="822" y="39"/>
                  </a:lnTo>
                  <a:lnTo>
                    <a:pt x="827" y="33"/>
                  </a:lnTo>
                  <a:lnTo>
                    <a:pt x="832" y="27"/>
                  </a:lnTo>
                  <a:lnTo>
                    <a:pt x="838" y="21"/>
                  </a:lnTo>
                  <a:lnTo>
                    <a:pt x="844" y="16"/>
                  </a:lnTo>
                  <a:lnTo>
                    <a:pt x="851" y="11"/>
                  </a:lnTo>
                  <a:lnTo>
                    <a:pt x="858" y="6"/>
                  </a:lnTo>
                  <a:lnTo>
                    <a:pt x="865" y="1"/>
                  </a:lnTo>
                  <a:lnTo>
                    <a:pt x="868" y="0"/>
                  </a:lnTo>
                  <a:lnTo>
                    <a:pt x="871" y="0"/>
                  </a:lnTo>
                  <a:lnTo>
                    <a:pt x="873" y="0"/>
                  </a:lnTo>
                  <a:lnTo>
                    <a:pt x="876" y="1"/>
                  </a:lnTo>
                  <a:lnTo>
                    <a:pt x="883" y="6"/>
                  </a:lnTo>
                  <a:lnTo>
                    <a:pt x="891" y="11"/>
                  </a:lnTo>
                  <a:lnTo>
                    <a:pt x="897" y="16"/>
                  </a:lnTo>
                  <a:lnTo>
                    <a:pt x="903" y="21"/>
                  </a:lnTo>
                  <a:lnTo>
                    <a:pt x="909" y="27"/>
                  </a:lnTo>
                  <a:lnTo>
                    <a:pt x="915" y="33"/>
                  </a:lnTo>
                  <a:lnTo>
                    <a:pt x="920" y="39"/>
                  </a:lnTo>
                  <a:lnTo>
                    <a:pt x="924" y="46"/>
                  </a:lnTo>
                  <a:lnTo>
                    <a:pt x="933" y="59"/>
                  </a:lnTo>
                  <a:lnTo>
                    <a:pt x="940" y="72"/>
                  </a:lnTo>
                  <a:lnTo>
                    <a:pt x="946" y="86"/>
                  </a:lnTo>
                  <a:lnTo>
                    <a:pt x="951" y="100"/>
                  </a:lnTo>
                  <a:lnTo>
                    <a:pt x="955" y="114"/>
                  </a:lnTo>
                  <a:lnTo>
                    <a:pt x="958" y="127"/>
                  </a:lnTo>
                  <a:lnTo>
                    <a:pt x="961" y="140"/>
                  </a:lnTo>
                  <a:lnTo>
                    <a:pt x="962" y="152"/>
                  </a:lnTo>
                  <a:lnTo>
                    <a:pt x="964" y="173"/>
                  </a:lnTo>
                  <a:lnTo>
                    <a:pt x="965" y="188"/>
                  </a:lnTo>
                  <a:lnTo>
                    <a:pt x="973" y="182"/>
                  </a:lnTo>
                  <a:lnTo>
                    <a:pt x="981" y="178"/>
                  </a:lnTo>
                  <a:lnTo>
                    <a:pt x="990" y="174"/>
                  </a:lnTo>
                  <a:lnTo>
                    <a:pt x="999" y="170"/>
                  </a:lnTo>
                  <a:lnTo>
                    <a:pt x="1008" y="168"/>
                  </a:lnTo>
                  <a:lnTo>
                    <a:pt x="1018" y="166"/>
                  </a:lnTo>
                  <a:lnTo>
                    <a:pt x="1027" y="165"/>
                  </a:lnTo>
                  <a:lnTo>
                    <a:pt x="1037" y="164"/>
                  </a:lnTo>
                  <a:lnTo>
                    <a:pt x="1046" y="164"/>
                  </a:lnTo>
                  <a:lnTo>
                    <a:pt x="1054" y="165"/>
                  </a:lnTo>
                  <a:lnTo>
                    <a:pt x="1058" y="166"/>
                  </a:lnTo>
                  <a:lnTo>
                    <a:pt x="1062" y="167"/>
                  </a:lnTo>
                  <a:lnTo>
                    <a:pt x="1070" y="169"/>
                  </a:lnTo>
                  <a:lnTo>
                    <a:pt x="1078" y="171"/>
                  </a:lnTo>
                  <a:lnTo>
                    <a:pt x="1085" y="174"/>
                  </a:lnTo>
                  <a:lnTo>
                    <a:pt x="1093" y="177"/>
                  </a:lnTo>
                  <a:lnTo>
                    <a:pt x="1100" y="181"/>
                  </a:lnTo>
                  <a:lnTo>
                    <a:pt x="1107" y="186"/>
                  </a:lnTo>
                  <a:lnTo>
                    <a:pt x="1113" y="190"/>
                  </a:lnTo>
                  <a:lnTo>
                    <a:pt x="1119" y="196"/>
                  </a:lnTo>
                  <a:lnTo>
                    <a:pt x="1125" y="201"/>
                  </a:lnTo>
                  <a:lnTo>
                    <a:pt x="1131" y="207"/>
                  </a:lnTo>
                  <a:lnTo>
                    <a:pt x="1136" y="214"/>
                  </a:lnTo>
                  <a:lnTo>
                    <a:pt x="1141" y="221"/>
                  </a:lnTo>
                  <a:lnTo>
                    <a:pt x="1145" y="228"/>
                  </a:lnTo>
                  <a:lnTo>
                    <a:pt x="1146" y="230"/>
                  </a:lnTo>
                  <a:lnTo>
                    <a:pt x="1146" y="232"/>
                  </a:lnTo>
                  <a:lnTo>
                    <a:pt x="1146" y="234"/>
                  </a:lnTo>
                  <a:lnTo>
                    <a:pt x="1146" y="237"/>
                  </a:lnTo>
                  <a:lnTo>
                    <a:pt x="1145" y="239"/>
                  </a:lnTo>
                  <a:lnTo>
                    <a:pt x="1143" y="240"/>
                  </a:lnTo>
                  <a:lnTo>
                    <a:pt x="1141" y="242"/>
                  </a:lnTo>
                  <a:lnTo>
                    <a:pt x="1139" y="243"/>
                  </a:lnTo>
                  <a:lnTo>
                    <a:pt x="1134" y="245"/>
                  </a:lnTo>
                  <a:lnTo>
                    <a:pt x="1128" y="248"/>
                  </a:lnTo>
                  <a:lnTo>
                    <a:pt x="1117" y="254"/>
                  </a:lnTo>
                  <a:lnTo>
                    <a:pt x="1106" y="260"/>
                  </a:lnTo>
                  <a:lnTo>
                    <a:pt x="1096" y="267"/>
                  </a:lnTo>
                  <a:lnTo>
                    <a:pt x="1087" y="275"/>
                  </a:lnTo>
                  <a:lnTo>
                    <a:pt x="1082" y="279"/>
                  </a:lnTo>
                  <a:lnTo>
                    <a:pt x="1078" y="283"/>
                  </a:lnTo>
                  <a:lnTo>
                    <a:pt x="1070" y="292"/>
                  </a:lnTo>
                  <a:lnTo>
                    <a:pt x="1062" y="301"/>
                  </a:lnTo>
                  <a:lnTo>
                    <a:pt x="1056" y="310"/>
                  </a:lnTo>
                  <a:lnTo>
                    <a:pt x="1053" y="315"/>
                  </a:lnTo>
                  <a:lnTo>
                    <a:pt x="1050" y="320"/>
                  </a:lnTo>
                  <a:lnTo>
                    <a:pt x="1044" y="331"/>
                  </a:lnTo>
                  <a:lnTo>
                    <a:pt x="1042" y="336"/>
                  </a:lnTo>
                  <a:lnTo>
                    <a:pt x="1040" y="341"/>
                  </a:lnTo>
                  <a:lnTo>
                    <a:pt x="1038" y="347"/>
                  </a:lnTo>
                  <a:lnTo>
                    <a:pt x="1036" y="352"/>
                  </a:lnTo>
                  <a:lnTo>
                    <a:pt x="1033" y="364"/>
                  </a:lnTo>
                  <a:lnTo>
                    <a:pt x="1031" y="375"/>
                  </a:lnTo>
                  <a:lnTo>
                    <a:pt x="1030" y="387"/>
                  </a:lnTo>
                  <a:lnTo>
                    <a:pt x="1029" y="396"/>
                  </a:lnTo>
                  <a:lnTo>
                    <a:pt x="1029" y="405"/>
                  </a:lnTo>
                  <a:lnTo>
                    <a:pt x="1030" y="413"/>
                  </a:lnTo>
                  <a:lnTo>
                    <a:pt x="1031" y="422"/>
                  </a:lnTo>
                  <a:lnTo>
                    <a:pt x="1032" y="430"/>
                  </a:lnTo>
                  <a:lnTo>
                    <a:pt x="1034" y="439"/>
                  </a:lnTo>
                  <a:lnTo>
                    <a:pt x="1037" y="447"/>
                  </a:lnTo>
                  <a:lnTo>
                    <a:pt x="1040" y="455"/>
                  </a:lnTo>
                  <a:lnTo>
                    <a:pt x="1043" y="464"/>
                  </a:lnTo>
                  <a:lnTo>
                    <a:pt x="1047" y="471"/>
                  </a:lnTo>
                  <a:lnTo>
                    <a:pt x="1051" y="479"/>
                  </a:lnTo>
                  <a:lnTo>
                    <a:pt x="1055" y="486"/>
                  </a:lnTo>
                  <a:lnTo>
                    <a:pt x="1060" y="493"/>
                  </a:lnTo>
                  <a:lnTo>
                    <a:pt x="1065" y="500"/>
                  </a:lnTo>
                  <a:lnTo>
                    <a:pt x="1070" y="507"/>
                  </a:lnTo>
                  <a:lnTo>
                    <a:pt x="1076" y="513"/>
                  </a:lnTo>
                  <a:lnTo>
                    <a:pt x="1082" y="519"/>
                  </a:lnTo>
                  <a:lnTo>
                    <a:pt x="1089" y="525"/>
                  </a:lnTo>
                  <a:lnTo>
                    <a:pt x="1103" y="536"/>
                  </a:lnTo>
                  <a:lnTo>
                    <a:pt x="1110" y="541"/>
                  </a:lnTo>
                  <a:lnTo>
                    <a:pt x="1118" y="546"/>
                  </a:lnTo>
                  <a:lnTo>
                    <a:pt x="1134" y="554"/>
                  </a:lnTo>
                  <a:lnTo>
                    <a:pt x="1142" y="558"/>
                  </a:lnTo>
                  <a:lnTo>
                    <a:pt x="1151" y="561"/>
                  </a:lnTo>
                  <a:lnTo>
                    <a:pt x="1159" y="564"/>
                  </a:lnTo>
                  <a:lnTo>
                    <a:pt x="1168" y="567"/>
                  </a:lnTo>
                  <a:lnTo>
                    <a:pt x="1178" y="569"/>
                  </a:lnTo>
                  <a:lnTo>
                    <a:pt x="1187" y="571"/>
                  </a:lnTo>
                  <a:lnTo>
                    <a:pt x="1196" y="572"/>
                  </a:lnTo>
                  <a:lnTo>
                    <a:pt x="1206" y="573"/>
                  </a:lnTo>
                  <a:lnTo>
                    <a:pt x="1221" y="573"/>
                  </a:lnTo>
                  <a:lnTo>
                    <a:pt x="1239" y="573"/>
                  </a:lnTo>
                  <a:lnTo>
                    <a:pt x="1248" y="572"/>
                  </a:lnTo>
                  <a:lnTo>
                    <a:pt x="1257" y="570"/>
                  </a:lnTo>
                  <a:lnTo>
                    <a:pt x="1274" y="566"/>
                  </a:lnTo>
                  <a:lnTo>
                    <a:pt x="1290" y="561"/>
                  </a:lnTo>
                  <a:lnTo>
                    <a:pt x="1306" y="555"/>
                  </a:lnTo>
                  <a:lnTo>
                    <a:pt x="1314" y="551"/>
                  </a:lnTo>
                  <a:lnTo>
                    <a:pt x="1321" y="547"/>
                  </a:lnTo>
                  <a:lnTo>
                    <a:pt x="1328" y="542"/>
                  </a:lnTo>
                  <a:lnTo>
                    <a:pt x="1335" y="538"/>
                  </a:lnTo>
                  <a:lnTo>
                    <a:pt x="1342" y="533"/>
                  </a:lnTo>
                  <a:lnTo>
                    <a:pt x="1348" y="527"/>
                  </a:lnTo>
                  <a:lnTo>
                    <a:pt x="1354" y="522"/>
                  </a:lnTo>
                  <a:lnTo>
                    <a:pt x="1360" y="516"/>
                  </a:lnTo>
                  <a:lnTo>
                    <a:pt x="1366" y="510"/>
                  </a:lnTo>
                  <a:lnTo>
                    <a:pt x="1371" y="504"/>
                  </a:lnTo>
                  <a:lnTo>
                    <a:pt x="1376" y="498"/>
                  </a:lnTo>
                  <a:lnTo>
                    <a:pt x="1381" y="491"/>
                  </a:lnTo>
                  <a:lnTo>
                    <a:pt x="1385" y="484"/>
                  </a:lnTo>
                  <a:lnTo>
                    <a:pt x="1389" y="477"/>
                  </a:lnTo>
                  <a:lnTo>
                    <a:pt x="1393" y="470"/>
                  </a:lnTo>
                  <a:lnTo>
                    <a:pt x="1396" y="462"/>
                  </a:lnTo>
                  <a:lnTo>
                    <a:pt x="1401" y="446"/>
                  </a:lnTo>
                  <a:lnTo>
                    <a:pt x="1403" y="438"/>
                  </a:lnTo>
                  <a:lnTo>
                    <a:pt x="1405" y="430"/>
                  </a:lnTo>
                  <a:lnTo>
                    <a:pt x="1406" y="422"/>
                  </a:lnTo>
                  <a:lnTo>
                    <a:pt x="1407" y="414"/>
                  </a:lnTo>
                  <a:lnTo>
                    <a:pt x="1407" y="404"/>
                  </a:lnTo>
                  <a:lnTo>
                    <a:pt x="1407" y="395"/>
                  </a:lnTo>
                  <a:lnTo>
                    <a:pt x="1406" y="386"/>
                  </a:lnTo>
                  <a:lnTo>
                    <a:pt x="1405" y="377"/>
                  </a:lnTo>
                  <a:lnTo>
                    <a:pt x="1404" y="368"/>
                  </a:lnTo>
                  <a:lnTo>
                    <a:pt x="1401" y="360"/>
                  </a:lnTo>
                  <a:lnTo>
                    <a:pt x="1399" y="351"/>
                  </a:lnTo>
                  <a:lnTo>
                    <a:pt x="1395" y="342"/>
                  </a:lnTo>
                  <a:lnTo>
                    <a:pt x="1392" y="334"/>
                  </a:lnTo>
                  <a:lnTo>
                    <a:pt x="1388" y="326"/>
                  </a:lnTo>
                  <a:lnTo>
                    <a:pt x="1383" y="318"/>
                  </a:lnTo>
                  <a:lnTo>
                    <a:pt x="1378" y="310"/>
                  </a:lnTo>
                  <a:lnTo>
                    <a:pt x="1372" y="303"/>
                  </a:lnTo>
                  <a:lnTo>
                    <a:pt x="1366" y="295"/>
                  </a:lnTo>
                  <a:lnTo>
                    <a:pt x="1360" y="288"/>
                  </a:lnTo>
                  <a:lnTo>
                    <a:pt x="1353" y="281"/>
                  </a:lnTo>
                  <a:lnTo>
                    <a:pt x="1352" y="280"/>
                  </a:lnTo>
                  <a:lnTo>
                    <a:pt x="1351" y="278"/>
                  </a:lnTo>
                  <a:lnTo>
                    <a:pt x="1350" y="276"/>
                  </a:lnTo>
                  <a:lnTo>
                    <a:pt x="1350" y="274"/>
                  </a:lnTo>
                  <a:lnTo>
                    <a:pt x="1350" y="270"/>
                  </a:lnTo>
                  <a:lnTo>
                    <a:pt x="1353" y="266"/>
                  </a:lnTo>
                  <a:lnTo>
                    <a:pt x="1357" y="262"/>
                  </a:lnTo>
                  <a:lnTo>
                    <a:pt x="1362" y="257"/>
                  </a:lnTo>
                  <a:lnTo>
                    <a:pt x="1367" y="253"/>
                  </a:lnTo>
                  <a:lnTo>
                    <a:pt x="1372" y="249"/>
                  </a:lnTo>
                  <a:lnTo>
                    <a:pt x="1383" y="242"/>
                  </a:lnTo>
                  <a:lnTo>
                    <a:pt x="1388" y="239"/>
                  </a:lnTo>
                  <a:lnTo>
                    <a:pt x="1394" y="236"/>
                  </a:lnTo>
                  <a:lnTo>
                    <a:pt x="1400" y="234"/>
                  </a:lnTo>
                  <a:lnTo>
                    <a:pt x="1406" y="232"/>
                  </a:lnTo>
                  <a:lnTo>
                    <a:pt x="1412" y="230"/>
                  </a:lnTo>
                  <a:lnTo>
                    <a:pt x="1418" y="228"/>
                  </a:lnTo>
                  <a:lnTo>
                    <a:pt x="1424" y="227"/>
                  </a:lnTo>
                  <a:lnTo>
                    <a:pt x="1431" y="226"/>
                  </a:lnTo>
                  <a:lnTo>
                    <a:pt x="1444" y="226"/>
                  </a:lnTo>
                  <a:lnTo>
                    <a:pt x="1452" y="226"/>
                  </a:lnTo>
                  <a:lnTo>
                    <a:pt x="1460" y="227"/>
                  </a:lnTo>
                  <a:lnTo>
                    <a:pt x="1468" y="228"/>
                  </a:lnTo>
                  <a:lnTo>
                    <a:pt x="1476" y="230"/>
                  </a:lnTo>
                  <a:lnTo>
                    <a:pt x="1483" y="232"/>
                  </a:lnTo>
                  <a:lnTo>
                    <a:pt x="1491" y="235"/>
                  </a:lnTo>
                  <a:lnTo>
                    <a:pt x="1498" y="238"/>
                  </a:lnTo>
                  <a:lnTo>
                    <a:pt x="1505" y="242"/>
                  </a:lnTo>
                  <a:lnTo>
                    <a:pt x="1512" y="246"/>
                  </a:lnTo>
                  <a:lnTo>
                    <a:pt x="1518" y="251"/>
                  </a:lnTo>
                  <a:lnTo>
                    <a:pt x="1525" y="256"/>
                  </a:lnTo>
                  <a:lnTo>
                    <a:pt x="1530" y="261"/>
                  </a:lnTo>
                  <a:lnTo>
                    <a:pt x="1536" y="267"/>
                  </a:lnTo>
                  <a:lnTo>
                    <a:pt x="1541" y="273"/>
                  </a:lnTo>
                  <a:lnTo>
                    <a:pt x="1546" y="280"/>
                  </a:lnTo>
                  <a:lnTo>
                    <a:pt x="1550" y="287"/>
                  </a:lnTo>
                  <a:lnTo>
                    <a:pt x="1560" y="275"/>
                  </a:lnTo>
                  <a:lnTo>
                    <a:pt x="1574" y="259"/>
                  </a:lnTo>
                  <a:lnTo>
                    <a:pt x="1582" y="250"/>
                  </a:lnTo>
                  <a:lnTo>
                    <a:pt x="1591" y="241"/>
                  </a:lnTo>
                  <a:lnTo>
                    <a:pt x="1602" y="232"/>
                  </a:lnTo>
                  <a:lnTo>
                    <a:pt x="1613" y="223"/>
                  </a:lnTo>
                  <a:lnTo>
                    <a:pt x="1625" y="214"/>
                  </a:lnTo>
                  <a:lnTo>
                    <a:pt x="1638" y="205"/>
                  </a:lnTo>
                  <a:lnTo>
                    <a:pt x="1651" y="198"/>
                  </a:lnTo>
                  <a:lnTo>
                    <a:pt x="1666" y="191"/>
                  </a:lnTo>
                  <a:lnTo>
                    <a:pt x="1673" y="188"/>
                  </a:lnTo>
                  <a:lnTo>
                    <a:pt x="1681" y="186"/>
                  </a:lnTo>
                  <a:lnTo>
                    <a:pt x="1688" y="183"/>
                  </a:lnTo>
                  <a:lnTo>
                    <a:pt x="1696" y="181"/>
                  </a:lnTo>
                  <a:lnTo>
                    <a:pt x="1704" y="180"/>
                  </a:lnTo>
                  <a:lnTo>
                    <a:pt x="1712" y="179"/>
                  </a:lnTo>
                  <a:lnTo>
                    <a:pt x="1720" y="178"/>
                  </a:lnTo>
                  <a:lnTo>
                    <a:pt x="1729" y="178"/>
                  </a:lnTo>
                  <a:close/>
                  <a:moveTo>
                    <a:pt x="1450" y="807"/>
                  </a:moveTo>
                  <a:lnTo>
                    <a:pt x="1453" y="807"/>
                  </a:lnTo>
                  <a:lnTo>
                    <a:pt x="1455" y="808"/>
                  </a:lnTo>
                  <a:lnTo>
                    <a:pt x="1457" y="810"/>
                  </a:lnTo>
                  <a:lnTo>
                    <a:pt x="1458" y="812"/>
                  </a:lnTo>
                  <a:lnTo>
                    <a:pt x="1459" y="814"/>
                  </a:lnTo>
                  <a:lnTo>
                    <a:pt x="1460" y="816"/>
                  </a:lnTo>
                  <a:lnTo>
                    <a:pt x="1460" y="819"/>
                  </a:lnTo>
                  <a:lnTo>
                    <a:pt x="1459" y="821"/>
                  </a:lnTo>
                  <a:lnTo>
                    <a:pt x="1439" y="885"/>
                  </a:lnTo>
                  <a:lnTo>
                    <a:pt x="1438" y="886"/>
                  </a:lnTo>
                  <a:lnTo>
                    <a:pt x="1437" y="888"/>
                  </a:lnTo>
                  <a:lnTo>
                    <a:pt x="1435" y="890"/>
                  </a:lnTo>
                  <a:lnTo>
                    <a:pt x="1432" y="892"/>
                  </a:lnTo>
                  <a:lnTo>
                    <a:pt x="1428" y="892"/>
                  </a:lnTo>
                  <a:lnTo>
                    <a:pt x="1374" y="887"/>
                  </a:lnTo>
                  <a:lnTo>
                    <a:pt x="1313" y="881"/>
                  </a:lnTo>
                  <a:lnTo>
                    <a:pt x="1245" y="876"/>
                  </a:lnTo>
                  <a:lnTo>
                    <a:pt x="1174" y="871"/>
                  </a:lnTo>
                  <a:lnTo>
                    <a:pt x="1099" y="867"/>
                  </a:lnTo>
                  <a:lnTo>
                    <a:pt x="1023" y="863"/>
                  </a:lnTo>
                  <a:lnTo>
                    <a:pt x="984" y="862"/>
                  </a:lnTo>
                  <a:lnTo>
                    <a:pt x="946" y="861"/>
                  </a:lnTo>
                  <a:lnTo>
                    <a:pt x="871" y="861"/>
                  </a:lnTo>
                  <a:lnTo>
                    <a:pt x="795" y="861"/>
                  </a:lnTo>
                  <a:lnTo>
                    <a:pt x="718" y="863"/>
                  </a:lnTo>
                  <a:lnTo>
                    <a:pt x="641" y="867"/>
                  </a:lnTo>
                  <a:lnTo>
                    <a:pt x="567" y="871"/>
                  </a:lnTo>
                  <a:lnTo>
                    <a:pt x="495" y="876"/>
                  </a:lnTo>
                  <a:lnTo>
                    <a:pt x="428" y="881"/>
                  </a:lnTo>
                  <a:lnTo>
                    <a:pt x="367" y="887"/>
                  </a:lnTo>
                  <a:lnTo>
                    <a:pt x="313" y="892"/>
                  </a:lnTo>
                  <a:lnTo>
                    <a:pt x="309" y="892"/>
                  </a:lnTo>
                  <a:lnTo>
                    <a:pt x="307" y="891"/>
                  </a:lnTo>
                  <a:lnTo>
                    <a:pt x="306" y="890"/>
                  </a:lnTo>
                  <a:lnTo>
                    <a:pt x="303" y="888"/>
                  </a:lnTo>
                  <a:lnTo>
                    <a:pt x="302" y="885"/>
                  </a:lnTo>
                  <a:lnTo>
                    <a:pt x="292" y="854"/>
                  </a:lnTo>
                  <a:lnTo>
                    <a:pt x="281" y="821"/>
                  </a:lnTo>
                  <a:lnTo>
                    <a:pt x="280" y="819"/>
                  </a:lnTo>
                  <a:lnTo>
                    <a:pt x="280" y="816"/>
                  </a:lnTo>
                  <a:lnTo>
                    <a:pt x="282" y="812"/>
                  </a:lnTo>
                  <a:lnTo>
                    <a:pt x="283" y="810"/>
                  </a:lnTo>
                  <a:lnTo>
                    <a:pt x="285" y="808"/>
                  </a:lnTo>
                  <a:lnTo>
                    <a:pt x="287" y="807"/>
                  </a:lnTo>
                  <a:lnTo>
                    <a:pt x="290" y="807"/>
                  </a:lnTo>
                  <a:lnTo>
                    <a:pt x="292" y="806"/>
                  </a:lnTo>
                  <a:lnTo>
                    <a:pt x="335" y="802"/>
                  </a:lnTo>
                  <a:lnTo>
                    <a:pt x="391" y="796"/>
                  </a:lnTo>
                  <a:lnTo>
                    <a:pt x="457" y="790"/>
                  </a:lnTo>
                  <a:lnTo>
                    <a:pt x="531" y="785"/>
                  </a:lnTo>
                  <a:lnTo>
                    <a:pt x="611" y="780"/>
                  </a:lnTo>
                  <a:lnTo>
                    <a:pt x="653" y="778"/>
                  </a:lnTo>
                  <a:lnTo>
                    <a:pt x="696" y="776"/>
                  </a:lnTo>
                  <a:lnTo>
                    <a:pt x="740" y="774"/>
                  </a:lnTo>
                  <a:lnTo>
                    <a:pt x="783" y="773"/>
                  </a:lnTo>
                  <a:lnTo>
                    <a:pt x="827" y="772"/>
                  </a:lnTo>
                  <a:lnTo>
                    <a:pt x="871" y="772"/>
                  </a:lnTo>
                  <a:lnTo>
                    <a:pt x="914" y="772"/>
                  </a:lnTo>
                  <a:lnTo>
                    <a:pt x="958" y="773"/>
                  </a:lnTo>
                  <a:lnTo>
                    <a:pt x="1001" y="774"/>
                  </a:lnTo>
                  <a:lnTo>
                    <a:pt x="1045" y="776"/>
                  </a:lnTo>
                  <a:lnTo>
                    <a:pt x="1129" y="780"/>
                  </a:lnTo>
                  <a:lnTo>
                    <a:pt x="1209" y="785"/>
                  </a:lnTo>
                  <a:lnTo>
                    <a:pt x="1283" y="790"/>
                  </a:lnTo>
                  <a:lnTo>
                    <a:pt x="1349" y="796"/>
                  </a:lnTo>
                  <a:lnTo>
                    <a:pt x="1405" y="802"/>
                  </a:lnTo>
                  <a:lnTo>
                    <a:pt x="1449" y="806"/>
                  </a:lnTo>
                  <a:lnTo>
                    <a:pt x="1450" y="8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auto">
            <a:xfrm>
              <a:off x="4287838" y="2951163"/>
              <a:ext cx="6440488" cy="1217612"/>
            </a:xfrm>
            <a:custGeom>
              <a:avLst/>
              <a:gdLst>
                <a:gd name="T0" fmla="*/ 3533 w 4057"/>
                <a:gd name="T1" fmla="*/ 11 h 767"/>
                <a:gd name="T2" fmla="*/ 3620 w 4057"/>
                <a:gd name="T3" fmla="*/ 37 h 767"/>
                <a:gd name="T4" fmla="*/ 4033 w 4057"/>
                <a:gd name="T5" fmla="*/ 15 h 767"/>
                <a:gd name="T6" fmla="*/ 4055 w 4057"/>
                <a:gd name="T7" fmla="*/ 724 h 767"/>
                <a:gd name="T8" fmla="*/ 4042 w 4057"/>
                <a:gd name="T9" fmla="*/ 755 h 767"/>
                <a:gd name="T10" fmla="*/ 3620 w 4057"/>
                <a:gd name="T11" fmla="*/ 736 h 767"/>
                <a:gd name="T12" fmla="*/ 3528 w 4057"/>
                <a:gd name="T13" fmla="*/ 756 h 767"/>
                <a:gd name="T14" fmla="*/ 330 w 4057"/>
                <a:gd name="T15" fmla="*/ 10 h 767"/>
                <a:gd name="T16" fmla="*/ 367 w 4057"/>
                <a:gd name="T17" fmla="*/ 4 h 767"/>
                <a:gd name="T18" fmla="*/ 693 w 4057"/>
                <a:gd name="T19" fmla="*/ 754 h 767"/>
                <a:gd name="T20" fmla="*/ 593 w 4057"/>
                <a:gd name="T21" fmla="*/ 744 h 767"/>
                <a:gd name="T22" fmla="*/ 21 w 4057"/>
                <a:gd name="T23" fmla="*/ 757 h 767"/>
                <a:gd name="T24" fmla="*/ 2 w 4057"/>
                <a:gd name="T25" fmla="*/ 729 h 767"/>
                <a:gd name="T26" fmla="*/ 827 w 4057"/>
                <a:gd name="T27" fmla="*/ 13 h 767"/>
                <a:gd name="T28" fmla="*/ 1180 w 4057"/>
                <a:gd name="T29" fmla="*/ 34 h 767"/>
                <a:gd name="T30" fmla="*/ 1281 w 4057"/>
                <a:gd name="T31" fmla="*/ 125 h 767"/>
                <a:gd name="T32" fmla="*/ 1315 w 4057"/>
                <a:gd name="T33" fmla="*/ 258 h 767"/>
                <a:gd name="T34" fmla="*/ 1268 w 4057"/>
                <a:gd name="T35" fmla="*/ 390 h 767"/>
                <a:gd name="T36" fmla="*/ 1159 w 4057"/>
                <a:gd name="T37" fmla="*/ 472 h 767"/>
                <a:gd name="T38" fmla="*/ 920 w 4057"/>
                <a:gd name="T39" fmla="*/ 747 h 767"/>
                <a:gd name="T40" fmla="*/ 816 w 4057"/>
                <a:gd name="T41" fmla="*/ 744 h 767"/>
                <a:gd name="T42" fmla="*/ 1135 w 4057"/>
                <a:gd name="T43" fmla="*/ 366 h 767"/>
                <a:gd name="T44" fmla="*/ 1203 w 4057"/>
                <a:gd name="T45" fmla="*/ 273 h 767"/>
                <a:gd name="T46" fmla="*/ 1189 w 4057"/>
                <a:gd name="T47" fmla="*/ 183 h 767"/>
                <a:gd name="T48" fmla="*/ 1098 w 4057"/>
                <a:gd name="T49" fmla="*/ 120 h 767"/>
                <a:gd name="T50" fmla="*/ 1899 w 4057"/>
                <a:gd name="T51" fmla="*/ 15 h 767"/>
                <a:gd name="T52" fmla="*/ 2058 w 4057"/>
                <a:gd name="T53" fmla="*/ 106 h 767"/>
                <a:gd name="T54" fmla="*/ 2153 w 4057"/>
                <a:gd name="T55" fmla="*/ 252 h 767"/>
                <a:gd name="T56" fmla="*/ 2169 w 4057"/>
                <a:gd name="T57" fmla="*/ 463 h 767"/>
                <a:gd name="T58" fmla="*/ 2089 w 4057"/>
                <a:gd name="T59" fmla="*/ 629 h 767"/>
                <a:gd name="T60" fmla="*/ 1960 w 4057"/>
                <a:gd name="T61" fmla="*/ 730 h 767"/>
                <a:gd name="T62" fmla="*/ 1773 w 4057"/>
                <a:gd name="T63" fmla="*/ 767 h 767"/>
                <a:gd name="T64" fmla="*/ 1578 w 4057"/>
                <a:gd name="T65" fmla="*/ 702 h 767"/>
                <a:gd name="T66" fmla="*/ 1466 w 4057"/>
                <a:gd name="T67" fmla="*/ 584 h 767"/>
                <a:gd name="T68" fmla="*/ 1411 w 4057"/>
                <a:gd name="T69" fmla="*/ 405 h 767"/>
                <a:gd name="T70" fmla="*/ 1448 w 4057"/>
                <a:gd name="T71" fmla="*/ 218 h 767"/>
                <a:gd name="T72" fmla="*/ 1563 w 4057"/>
                <a:gd name="T73" fmla="*/ 76 h 767"/>
                <a:gd name="T74" fmla="*/ 1725 w 4057"/>
                <a:gd name="T75" fmla="*/ 6 h 767"/>
                <a:gd name="T76" fmla="*/ 1888 w 4057"/>
                <a:gd name="T77" fmla="*/ 644 h 767"/>
                <a:gd name="T78" fmla="*/ 2007 w 4057"/>
                <a:gd name="T79" fmla="*/ 561 h 767"/>
                <a:gd name="T80" fmla="*/ 2069 w 4057"/>
                <a:gd name="T81" fmla="*/ 413 h 767"/>
                <a:gd name="T82" fmla="*/ 2037 w 4057"/>
                <a:gd name="T83" fmla="*/ 253 h 767"/>
                <a:gd name="T84" fmla="*/ 1925 w 4057"/>
                <a:gd name="T85" fmla="*/ 141 h 767"/>
                <a:gd name="T86" fmla="*/ 1765 w 4057"/>
                <a:gd name="T87" fmla="*/ 108 h 767"/>
                <a:gd name="T88" fmla="*/ 1618 w 4057"/>
                <a:gd name="T89" fmla="*/ 171 h 767"/>
                <a:gd name="T90" fmla="*/ 1530 w 4057"/>
                <a:gd name="T91" fmla="*/ 304 h 767"/>
                <a:gd name="T92" fmla="*/ 1530 w 4057"/>
                <a:gd name="T93" fmla="*/ 467 h 767"/>
                <a:gd name="T94" fmla="*/ 1618 w 4057"/>
                <a:gd name="T95" fmla="*/ 598 h 767"/>
                <a:gd name="T96" fmla="*/ 1765 w 4057"/>
                <a:gd name="T97" fmla="*/ 659 h 767"/>
                <a:gd name="T98" fmla="*/ 2214 w 4057"/>
                <a:gd name="T99" fmla="*/ 91 h 767"/>
                <a:gd name="T100" fmla="*/ 2736 w 4057"/>
                <a:gd name="T101" fmla="*/ 13 h 767"/>
                <a:gd name="T102" fmla="*/ 2739 w 4057"/>
                <a:gd name="T103" fmla="*/ 107 h 767"/>
                <a:gd name="T104" fmla="*/ 2520 w 4057"/>
                <a:gd name="T105" fmla="*/ 756 h 767"/>
                <a:gd name="T106" fmla="*/ 2885 w 4057"/>
                <a:gd name="T107" fmla="*/ 31 h 767"/>
                <a:gd name="T108" fmla="*/ 3343 w 4057"/>
                <a:gd name="T109" fmla="*/ 15 h 767"/>
                <a:gd name="T110" fmla="*/ 3340 w 4057"/>
                <a:gd name="T111" fmla="*/ 109 h 767"/>
                <a:gd name="T112" fmla="*/ 3298 w 4057"/>
                <a:gd name="T113" fmla="*/ 345 h 767"/>
                <a:gd name="T114" fmla="*/ 2994 w 4057"/>
                <a:gd name="T115" fmla="*/ 658 h 767"/>
                <a:gd name="T116" fmla="*/ 3350 w 4057"/>
                <a:gd name="T117" fmla="*/ 744 h 767"/>
                <a:gd name="T118" fmla="*/ 2888 w 4057"/>
                <a:gd name="T119" fmla="*/ 747 h 7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057" h="767">
                  <a:moveTo>
                    <a:pt x="3508" y="37"/>
                  </a:moveTo>
                  <a:lnTo>
                    <a:pt x="3508" y="31"/>
                  </a:lnTo>
                  <a:lnTo>
                    <a:pt x="3509" y="29"/>
                  </a:lnTo>
                  <a:lnTo>
                    <a:pt x="3509" y="27"/>
                  </a:lnTo>
                  <a:lnTo>
                    <a:pt x="3510" y="25"/>
                  </a:lnTo>
                  <a:lnTo>
                    <a:pt x="3512" y="22"/>
                  </a:lnTo>
                  <a:lnTo>
                    <a:pt x="3515" y="19"/>
                  </a:lnTo>
                  <a:lnTo>
                    <a:pt x="3518" y="15"/>
                  </a:lnTo>
                  <a:lnTo>
                    <a:pt x="3523" y="13"/>
                  </a:lnTo>
                  <a:lnTo>
                    <a:pt x="3525" y="12"/>
                  </a:lnTo>
                  <a:lnTo>
                    <a:pt x="3528" y="12"/>
                  </a:lnTo>
                  <a:lnTo>
                    <a:pt x="3533" y="11"/>
                  </a:lnTo>
                  <a:lnTo>
                    <a:pt x="3595" y="11"/>
                  </a:lnTo>
                  <a:lnTo>
                    <a:pt x="3600" y="12"/>
                  </a:lnTo>
                  <a:lnTo>
                    <a:pt x="3602" y="12"/>
                  </a:lnTo>
                  <a:lnTo>
                    <a:pt x="3605" y="13"/>
                  </a:lnTo>
                  <a:lnTo>
                    <a:pt x="3609" y="15"/>
                  </a:lnTo>
                  <a:lnTo>
                    <a:pt x="3611" y="17"/>
                  </a:lnTo>
                  <a:lnTo>
                    <a:pt x="3613" y="19"/>
                  </a:lnTo>
                  <a:lnTo>
                    <a:pt x="3616" y="22"/>
                  </a:lnTo>
                  <a:lnTo>
                    <a:pt x="3618" y="27"/>
                  </a:lnTo>
                  <a:lnTo>
                    <a:pt x="3619" y="29"/>
                  </a:lnTo>
                  <a:lnTo>
                    <a:pt x="3620" y="31"/>
                  </a:lnTo>
                  <a:lnTo>
                    <a:pt x="3620" y="37"/>
                  </a:lnTo>
                  <a:lnTo>
                    <a:pt x="3620" y="332"/>
                  </a:lnTo>
                  <a:lnTo>
                    <a:pt x="3920" y="22"/>
                  </a:lnTo>
                  <a:lnTo>
                    <a:pt x="3924" y="18"/>
                  </a:lnTo>
                  <a:lnTo>
                    <a:pt x="3929" y="14"/>
                  </a:lnTo>
                  <a:lnTo>
                    <a:pt x="3934" y="12"/>
                  </a:lnTo>
                  <a:lnTo>
                    <a:pt x="3937" y="11"/>
                  </a:lnTo>
                  <a:lnTo>
                    <a:pt x="3940" y="11"/>
                  </a:lnTo>
                  <a:lnTo>
                    <a:pt x="4020" y="11"/>
                  </a:lnTo>
                  <a:lnTo>
                    <a:pt x="4024" y="11"/>
                  </a:lnTo>
                  <a:lnTo>
                    <a:pt x="4027" y="12"/>
                  </a:lnTo>
                  <a:lnTo>
                    <a:pt x="4030" y="13"/>
                  </a:lnTo>
                  <a:lnTo>
                    <a:pt x="4033" y="15"/>
                  </a:lnTo>
                  <a:lnTo>
                    <a:pt x="4035" y="17"/>
                  </a:lnTo>
                  <a:lnTo>
                    <a:pt x="4037" y="19"/>
                  </a:lnTo>
                  <a:lnTo>
                    <a:pt x="4040" y="24"/>
                  </a:lnTo>
                  <a:lnTo>
                    <a:pt x="4042" y="30"/>
                  </a:lnTo>
                  <a:lnTo>
                    <a:pt x="4042" y="33"/>
                  </a:lnTo>
                  <a:lnTo>
                    <a:pt x="4042" y="37"/>
                  </a:lnTo>
                  <a:lnTo>
                    <a:pt x="4039" y="43"/>
                  </a:lnTo>
                  <a:lnTo>
                    <a:pt x="4038" y="46"/>
                  </a:lnTo>
                  <a:lnTo>
                    <a:pt x="4035" y="49"/>
                  </a:lnTo>
                  <a:lnTo>
                    <a:pt x="3728" y="363"/>
                  </a:lnTo>
                  <a:lnTo>
                    <a:pt x="4053" y="721"/>
                  </a:lnTo>
                  <a:lnTo>
                    <a:pt x="4055" y="724"/>
                  </a:lnTo>
                  <a:lnTo>
                    <a:pt x="4056" y="726"/>
                  </a:lnTo>
                  <a:lnTo>
                    <a:pt x="4057" y="731"/>
                  </a:lnTo>
                  <a:lnTo>
                    <a:pt x="4057" y="734"/>
                  </a:lnTo>
                  <a:lnTo>
                    <a:pt x="4057" y="737"/>
                  </a:lnTo>
                  <a:lnTo>
                    <a:pt x="4056" y="740"/>
                  </a:lnTo>
                  <a:lnTo>
                    <a:pt x="4055" y="743"/>
                  </a:lnTo>
                  <a:lnTo>
                    <a:pt x="4054" y="746"/>
                  </a:lnTo>
                  <a:lnTo>
                    <a:pt x="4052" y="748"/>
                  </a:lnTo>
                  <a:lnTo>
                    <a:pt x="4050" y="750"/>
                  </a:lnTo>
                  <a:lnTo>
                    <a:pt x="4048" y="752"/>
                  </a:lnTo>
                  <a:lnTo>
                    <a:pt x="4045" y="754"/>
                  </a:lnTo>
                  <a:lnTo>
                    <a:pt x="4042" y="755"/>
                  </a:lnTo>
                  <a:lnTo>
                    <a:pt x="4038" y="756"/>
                  </a:lnTo>
                  <a:lnTo>
                    <a:pt x="4034" y="756"/>
                  </a:lnTo>
                  <a:lnTo>
                    <a:pt x="3949" y="756"/>
                  </a:lnTo>
                  <a:lnTo>
                    <a:pt x="3945" y="756"/>
                  </a:lnTo>
                  <a:lnTo>
                    <a:pt x="3942" y="756"/>
                  </a:lnTo>
                  <a:lnTo>
                    <a:pt x="3936" y="754"/>
                  </a:lnTo>
                  <a:lnTo>
                    <a:pt x="3934" y="753"/>
                  </a:lnTo>
                  <a:lnTo>
                    <a:pt x="3932" y="752"/>
                  </a:lnTo>
                  <a:lnTo>
                    <a:pt x="3930" y="749"/>
                  </a:lnTo>
                  <a:lnTo>
                    <a:pt x="3620" y="400"/>
                  </a:lnTo>
                  <a:lnTo>
                    <a:pt x="3620" y="731"/>
                  </a:lnTo>
                  <a:lnTo>
                    <a:pt x="3620" y="736"/>
                  </a:lnTo>
                  <a:lnTo>
                    <a:pt x="3619" y="738"/>
                  </a:lnTo>
                  <a:lnTo>
                    <a:pt x="3618" y="741"/>
                  </a:lnTo>
                  <a:lnTo>
                    <a:pt x="3616" y="745"/>
                  </a:lnTo>
                  <a:lnTo>
                    <a:pt x="3614" y="747"/>
                  </a:lnTo>
                  <a:lnTo>
                    <a:pt x="3613" y="749"/>
                  </a:lnTo>
                  <a:lnTo>
                    <a:pt x="3609" y="752"/>
                  </a:lnTo>
                  <a:lnTo>
                    <a:pt x="3605" y="754"/>
                  </a:lnTo>
                  <a:lnTo>
                    <a:pt x="3602" y="755"/>
                  </a:lnTo>
                  <a:lnTo>
                    <a:pt x="3600" y="756"/>
                  </a:lnTo>
                  <a:lnTo>
                    <a:pt x="3595" y="756"/>
                  </a:lnTo>
                  <a:lnTo>
                    <a:pt x="3533" y="756"/>
                  </a:lnTo>
                  <a:lnTo>
                    <a:pt x="3528" y="756"/>
                  </a:lnTo>
                  <a:lnTo>
                    <a:pt x="3523" y="754"/>
                  </a:lnTo>
                  <a:lnTo>
                    <a:pt x="3518" y="752"/>
                  </a:lnTo>
                  <a:lnTo>
                    <a:pt x="3515" y="749"/>
                  </a:lnTo>
                  <a:lnTo>
                    <a:pt x="3512" y="745"/>
                  </a:lnTo>
                  <a:lnTo>
                    <a:pt x="3510" y="743"/>
                  </a:lnTo>
                  <a:lnTo>
                    <a:pt x="3509" y="741"/>
                  </a:lnTo>
                  <a:lnTo>
                    <a:pt x="3508" y="736"/>
                  </a:lnTo>
                  <a:lnTo>
                    <a:pt x="3508" y="731"/>
                  </a:lnTo>
                  <a:lnTo>
                    <a:pt x="3508" y="37"/>
                  </a:lnTo>
                  <a:close/>
                  <a:moveTo>
                    <a:pt x="2" y="729"/>
                  </a:moveTo>
                  <a:lnTo>
                    <a:pt x="329" y="12"/>
                  </a:lnTo>
                  <a:lnTo>
                    <a:pt x="330" y="10"/>
                  </a:lnTo>
                  <a:lnTo>
                    <a:pt x="332" y="8"/>
                  </a:lnTo>
                  <a:lnTo>
                    <a:pt x="335" y="6"/>
                  </a:lnTo>
                  <a:lnTo>
                    <a:pt x="337" y="4"/>
                  </a:lnTo>
                  <a:lnTo>
                    <a:pt x="340" y="2"/>
                  </a:lnTo>
                  <a:lnTo>
                    <a:pt x="342" y="1"/>
                  </a:lnTo>
                  <a:lnTo>
                    <a:pt x="345" y="1"/>
                  </a:lnTo>
                  <a:lnTo>
                    <a:pt x="347" y="0"/>
                  </a:lnTo>
                  <a:lnTo>
                    <a:pt x="358" y="0"/>
                  </a:lnTo>
                  <a:lnTo>
                    <a:pt x="360" y="1"/>
                  </a:lnTo>
                  <a:lnTo>
                    <a:pt x="362" y="1"/>
                  </a:lnTo>
                  <a:lnTo>
                    <a:pt x="365" y="2"/>
                  </a:lnTo>
                  <a:lnTo>
                    <a:pt x="367" y="4"/>
                  </a:lnTo>
                  <a:lnTo>
                    <a:pt x="370" y="6"/>
                  </a:lnTo>
                  <a:lnTo>
                    <a:pt x="372" y="8"/>
                  </a:lnTo>
                  <a:lnTo>
                    <a:pt x="376" y="12"/>
                  </a:lnTo>
                  <a:lnTo>
                    <a:pt x="701" y="729"/>
                  </a:lnTo>
                  <a:lnTo>
                    <a:pt x="703" y="734"/>
                  </a:lnTo>
                  <a:lnTo>
                    <a:pt x="703" y="739"/>
                  </a:lnTo>
                  <a:lnTo>
                    <a:pt x="702" y="744"/>
                  </a:lnTo>
                  <a:lnTo>
                    <a:pt x="702" y="746"/>
                  </a:lnTo>
                  <a:lnTo>
                    <a:pt x="700" y="748"/>
                  </a:lnTo>
                  <a:lnTo>
                    <a:pt x="699" y="750"/>
                  </a:lnTo>
                  <a:lnTo>
                    <a:pt x="697" y="751"/>
                  </a:lnTo>
                  <a:lnTo>
                    <a:pt x="693" y="754"/>
                  </a:lnTo>
                  <a:lnTo>
                    <a:pt x="689" y="756"/>
                  </a:lnTo>
                  <a:lnTo>
                    <a:pt x="686" y="756"/>
                  </a:lnTo>
                  <a:lnTo>
                    <a:pt x="683" y="757"/>
                  </a:lnTo>
                  <a:lnTo>
                    <a:pt x="616" y="757"/>
                  </a:lnTo>
                  <a:lnTo>
                    <a:pt x="611" y="756"/>
                  </a:lnTo>
                  <a:lnTo>
                    <a:pt x="607" y="755"/>
                  </a:lnTo>
                  <a:lnTo>
                    <a:pt x="606" y="755"/>
                  </a:lnTo>
                  <a:lnTo>
                    <a:pt x="604" y="754"/>
                  </a:lnTo>
                  <a:lnTo>
                    <a:pt x="601" y="752"/>
                  </a:lnTo>
                  <a:lnTo>
                    <a:pt x="598" y="750"/>
                  </a:lnTo>
                  <a:lnTo>
                    <a:pt x="595" y="747"/>
                  </a:lnTo>
                  <a:lnTo>
                    <a:pt x="593" y="744"/>
                  </a:lnTo>
                  <a:lnTo>
                    <a:pt x="592" y="741"/>
                  </a:lnTo>
                  <a:lnTo>
                    <a:pt x="526" y="595"/>
                  </a:lnTo>
                  <a:lnTo>
                    <a:pt x="177" y="595"/>
                  </a:lnTo>
                  <a:lnTo>
                    <a:pt x="144" y="668"/>
                  </a:lnTo>
                  <a:lnTo>
                    <a:pt x="112" y="741"/>
                  </a:lnTo>
                  <a:lnTo>
                    <a:pt x="109" y="746"/>
                  </a:lnTo>
                  <a:lnTo>
                    <a:pt x="103" y="751"/>
                  </a:lnTo>
                  <a:lnTo>
                    <a:pt x="100" y="753"/>
                  </a:lnTo>
                  <a:lnTo>
                    <a:pt x="96" y="755"/>
                  </a:lnTo>
                  <a:lnTo>
                    <a:pt x="92" y="756"/>
                  </a:lnTo>
                  <a:lnTo>
                    <a:pt x="88" y="757"/>
                  </a:lnTo>
                  <a:lnTo>
                    <a:pt x="21" y="757"/>
                  </a:lnTo>
                  <a:lnTo>
                    <a:pt x="15" y="756"/>
                  </a:lnTo>
                  <a:lnTo>
                    <a:pt x="10" y="754"/>
                  </a:lnTo>
                  <a:lnTo>
                    <a:pt x="6" y="751"/>
                  </a:lnTo>
                  <a:lnTo>
                    <a:pt x="4" y="750"/>
                  </a:lnTo>
                  <a:lnTo>
                    <a:pt x="3" y="748"/>
                  </a:lnTo>
                  <a:lnTo>
                    <a:pt x="1" y="744"/>
                  </a:lnTo>
                  <a:lnTo>
                    <a:pt x="1" y="741"/>
                  </a:lnTo>
                  <a:lnTo>
                    <a:pt x="0" y="739"/>
                  </a:lnTo>
                  <a:lnTo>
                    <a:pt x="0" y="737"/>
                  </a:lnTo>
                  <a:lnTo>
                    <a:pt x="1" y="734"/>
                  </a:lnTo>
                  <a:lnTo>
                    <a:pt x="1" y="731"/>
                  </a:lnTo>
                  <a:lnTo>
                    <a:pt x="2" y="729"/>
                  </a:lnTo>
                  <a:close/>
                  <a:moveTo>
                    <a:pt x="485" y="503"/>
                  </a:moveTo>
                  <a:lnTo>
                    <a:pt x="353" y="211"/>
                  </a:lnTo>
                  <a:lnTo>
                    <a:pt x="348" y="211"/>
                  </a:lnTo>
                  <a:lnTo>
                    <a:pt x="218" y="503"/>
                  </a:lnTo>
                  <a:lnTo>
                    <a:pt x="485" y="503"/>
                  </a:lnTo>
                  <a:close/>
                  <a:moveTo>
                    <a:pt x="814" y="31"/>
                  </a:moveTo>
                  <a:lnTo>
                    <a:pt x="815" y="27"/>
                  </a:lnTo>
                  <a:lnTo>
                    <a:pt x="816" y="24"/>
                  </a:lnTo>
                  <a:lnTo>
                    <a:pt x="818" y="20"/>
                  </a:lnTo>
                  <a:lnTo>
                    <a:pt x="820" y="17"/>
                  </a:lnTo>
                  <a:lnTo>
                    <a:pt x="823" y="15"/>
                  </a:lnTo>
                  <a:lnTo>
                    <a:pt x="827" y="13"/>
                  </a:lnTo>
                  <a:lnTo>
                    <a:pt x="830" y="11"/>
                  </a:lnTo>
                  <a:lnTo>
                    <a:pt x="835" y="11"/>
                  </a:lnTo>
                  <a:lnTo>
                    <a:pt x="1077" y="11"/>
                  </a:lnTo>
                  <a:lnTo>
                    <a:pt x="1089" y="11"/>
                  </a:lnTo>
                  <a:lnTo>
                    <a:pt x="1101" y="12"/>
                  </a:lnTo>
                  <a:lnTo>
                    <a:pt x="1113" y="14"/>
                  </a:lnTo>
                  <a:lnTo>
                    <a:pt x="1125" y="16"/>
                  </a:lnTo>
                  <a:lnTo>
                    <a:pt x="1136" y="19"/>
                  </a:lnTo>
                  <a:lnTo>
                    <a:pt x="1148" y="22"/>
                  </a:lnTo>
                  <a:lnTo>
                    <a:pt x="1159" y="25"/>
                  </a:lnTo>
                  <a:lnTo>
                    <a:pt x="1170" y="30"/>
                  </a:lnTo>
                  <a:lnTo>
                    <a:pt x="1180" y="34"/>
                  </a:lnTo>
                  <a:lnTo>
                    <a:pt x="1190" y="40"/>
                  </a:lnTo>
                  <a:lnTo>
                    <a:pt x="1200" y="45"/>
                  </a:lnTo>
                  <a:lnTo>
                    <a:pt x="1210" y="51"/>
                  </a:lnTo>
                  <a:lnTo>
                    <a:pt x="1219" y="58"/>
                  </a:lnTo>
                  <a:lnTo>
                    <a:pt x="1228" y="65"/>
                  </a:lnTo>
                  <a:lnTo>
                    <a:pt x="1237" y="72"/>
                  </a:lnTo>
                  <a:lnTo>
                    <a:pt x="1245" y="80"/>
                  </a:lnTo>
                  <a:lnTo>
                    <a:pt x="1253" y="88"/>
                  </a:lnTo>
                  <a:lnTo>
                    <a:pt x="1261" y="97"/>
                  </a:lnTo>
                  <a:lnTo>
                    <a:pt x="1268" y="106"/>
                  </a:lnTo>
                  <a:lnTo>
                    <a:pt x="1275" y="115"/>
                  </a:lnTo>
                  <a:lnTo>
                    <a:pt x="1281" y="125"/>
                  </a:lnTo>
                  <a:lnTo>
                    <a:pt x="1286" y="135"/>
                  </a:lnTo>
                  <a:lnTo>
                    <a:pt x="1292" y="145"/>
                  </a:lnTo>
                  <a:lnTo>
                    <a:pt x="1297" y="155"/>
                  </a:lnTo>
                  <a:lnTo>
                    <a:pt x="1301" y="166"/>
                  </a:lnTo>
                  <a:lnTo>
                    <a:pt x="1305" y="177"/>
                  </a:lnTo>
                  <a:lnTo>
                    <a:pt x="1308" y="188"/>
                  </a:lnTo>
                  <a:lnTo>
                    <a:pt x="1311" y="199"/>
                  </a:lnTo>
                  <a:lnTo>
                    <a:pt x="1313" y="211"/>
                  </a:lnTo>
                  <a:lnTo>
                    <a:pt x="1314" y="222"/>
                  </a:lnTo>
                  <a:lnTo>
                    <a:pt x="1315" y="234"/>
                  </a:lnTo>
                  <a:lnTo>
                    <a:pt x="1315" y="246"/>
                  </a:lnTo>
                  <a:lnTo>
                    <a:pt x="1315" y="258"/>
                  </a:lnTo>
                  <a:lnTo>
                    <a:pt x="1314" y="270"/>
                  </a:lnTo>
                  <a:lnTo>
                    <a:pt x="1313" y="282"/>
                  </a:lnTo>
                  <a:lnTo>
                    <a:pt x="1311" y="294"/>
                  </a:lnTo>
                  <a:lnTo>
                    <a:pt x="1308" y="307"/>
                  </a:lnTo>
                  <a:lnTo>
                    <a:pt x="1305" y="318"/>
                  </a:lnTo>
                  <a:lnTo>
                    <a:pt x="1301" y="329"/>
                  </a:lnTo>
                  <a:lnTo>
                    <a:pt x="1297" y="340"/>
                  </a:lnTo>
                  <a:lnTo>
                    <a:pt x="1292" y="351"/>
                  </a:lnTo>
                  <a:lnTo>
                    <a:pt x="1287" y="361"/>
                  </a:lnTo>
                  <a:lnTo>
                    <a:pt x="1281" y="371"/>
                  </a:lnTo>
                  <a:lnTo>
                    <a:pt x="1275" y="381"/>
                  </a:lnTo>
                  <a:lnTo>
                    <a:pt x="1268" y="390"/>
                  </a:lnTo>
                  <a:lnTo>
                    <a:pt x="1261" y="399"/>
                  </a:lnTo>
                  <a:lnTo>
                    <a:pt x="1253" y="408"/>
                  </a:lnTo>
                  <a:lnTo>
                    <a:pt x="1245" y="416"/>
                  </a:lnTo>
                  <a:lnTo>
                    <a:pt x="1237" y="424"/>
                  </a:lnTo>
                  <a:lnTo>
                    <a:pt x="1229" y="432"/>
                  </a:lnTo>
                  <a:lnTo>
                    <a:pt x="1220" y="439"/>
                  </a:lnTo>
                  <a:lnTo>
                    <a:pt x="1210" y="445"/>
                  </a:lnTo>
                  <a:lnTo>
                    <a:pt x="1201" y="452"/>
                  </a:lnTo>
                  <a:lnTo>
                    <a:pt x="1191" y="457"/>
                  </a:lnTo>
                  <a:lnTo>
                    <a:pt x="1180" y="463"/>
                  </a:lnTo>
                  <a:lnTo>
                    <a:pt x="1170" y="468"/>
                  </a:lnTo>
                  <a:lnTo>
                    <a:pt x="1159" y="472"/>
                  </a:lnTo>
                  <a:lnTo>
                    <a:pt x="1148" y="476"/>
                  </a:lnTo>
                  <a:lnTo>
                    <a:pt x="1137" y="479"/>
                  </a:lnTo>
                  <a:lnTo>
                    <a:pt x="1126" y="481"/>
                  </a:lnTo>
                  <a:lnTo>
                    <a:pt x="1114" y="484"/>
                  </a:lnTo>
                  <a:lnTo>
                    <a:pt x="1102" y="485"/>
                  </a:lnTo>
                  <a:lnTo>
                    <a:pt x="1090" y="486"/>
                  </a:lnTo>
                  <a:lnTo>
                    <a:pt x="1078" y="486"/>
                  </a:lnTo>
                  <a:lnTo>
                    <a:pt x="924" y="486"/>
                  </a:lnTo>
                  <a:lnTo>
                    <a:pt x="924" y="736"/>
                  </a:lnTo>
                  <a:lnTo>
                    <a:pt x="924" y="740"/>
                  </a:lnTo>
                  <a:lnTo>
                    <a:pt x="922" y="744"/>
                  </a:lnTo>
                  <a:lnTo>
                    <a:pt x="920" y="747"/>
                  </a:lnTo>
                  <a:lnTo>
                    <a:pt x="918" y="750"/>
                  </a:lnTo>
                  <a:lnTo>
                    <a:pt x="915" y="753"/>
                  </a:lnTo>
                  <a:lnTo>
                    <a:pt x="911" y="755"/>
                  </a:lnTo>
                  <a:lnTo>
                    <a:pt x="908" y="756"/>
                  </a:lnTo>
                  <a:lnTo>
                    <a:pt x="904" y="756"/>
                  </a:lnTo>
                  <a:lnTo>
                    <a:pt x="835" y="756"/>
                  </a:lnTo>
                  <a:lnTo>
                    <a:pt x="830" y="756"/>
                  </a:lnTo>
                  <a:lnTo>
                    <a:pt x="827" y="755"/>
                  </a:lnTo>
                  <a:lnTo>
                    <a:pt x="823" y="753"/>
                  </a:lnTo>
                  <a:lnTo>
                    <a:pt x="820" y="750"/>
                  </a:lnTo>
                  <a:lnTo>
                    <a:pt x="818" y="747"/>
                  </a:lnTo>
                  <a:lnTo>
                    <a:pt x="816" y="744"/>
                  </a:lnTo>
                  <a:lnTo>
                    <a:pt x="815" y="740"/>
                  </a:lnTo>
                  <a:lnTo>
                    <a:pt x="814" y="736"/>
                  </a:lnTo>
                  <a:lnTo>
                    <a:pt x="814" y="31"/>
                  </a:lnTo>
                  <a:close/>
                  <a:moveTo>
                    <a:pt x="1071" y="382"/>
                  </a:moveTo>
                  <a:lnTo>
                    <a:pt x="1078" y="382"/>
                  </a:lnTo>
                  <a:lnTo>
                    <a:pt x="1084" y="381"/>
                  </a:lnTo>
                  <a:lnTo>
                    <a:pt x="1098" y="379"/>
                  </a:lnTo>
                  <a:lnTo>
                    <a:pt x="1110" y="376"/>
                  </a:lnTo>
                  <a:lnTo>
                    <a:pt x="1117" y="374"/>
                  </a:lnTo>
                  <a:lnTo>
                    <a:pt x="1123" y="372"/>
                  </a:lnTo>
                  <a:lnTo>
                    <a:pt x="1129" y="369"/>
                  </a:lnTo>
                  <a:lnTo>
                    <a:pt x="1135" y="366"/>
                  </a:lnTo>
                  <a:lnTo>
                    <a:pt x="1146" y="359"/>
                  </a:lnTo>
                  <a:lnTo>
                    <a:pt x="1156" y="351"/>
                  </a:lnTo>
                  <a:lnTo>
                    <a:pt x="1166" y="343"/>
                  </a:lnTo>
                  <a:lnTo>
                    <a:pt x="1175" y="333"/>
                  </a:lnTo>
                  <a:lnTo>
                    <a:pt x="1179" y="328"/>
                  </a:lnTo>
                  <a:lnTo>
                    <a:pt x="1182" y="323"/>
                  </a:lnTo>
                  <a:lnTo>
                    <a:pt x="1186" y="317"/>
                  </a:lnTo>
                  <a:lnTo>
                    <a:pt x="1189" y="312"/>
                  </a:lnTo>
                  <a:lnTo>
                    <a:pt x="1195" y="299"/>
                  </a:lnTo>
                  <a:lnTo>
                    <a:pt x="1198" y="292"/>
                  </a:lnTo>
                  <a:lnTo>
                    <a:pt x="1200" y="286"/>
                  </a:lnTo>
                  <a:lnTo>
                    <a:pt x="1203" y="273"/>
                  </a:lnTo>
                  <a:lnTo>
                    <a:pt x="1204" y="266"/>
                  </a:lnTo>
                  <a:lnTo>
                    <a:pt x="1205" y="263"/>
                  </a:lnTo>
                  <a:lnTo>
                    <a:pt x="1205" y="259"/>
                  </a:lnTo>
                  <a:lnTo>
                    <a:pt x="1206" y="252"/>
                  </a:lnTo>
                  <a:lnTo>
                    <a:pt x="1206" y="245"/>
                  </a:lnTo>
                  <a:lnTo>
                    <a:pt x="1206" y="238"/>
                  </a:lnTo>
                  <a:lnTo>
                    <a:pt x="1205" y="232"/>
                  </a:lnTo>
                  <a:lnTo>
                    <a:pt x="1203" y="219"/>
                  </a:lnTo>
                  <a:lnTo>
                    <a:pt x="1202" y="213"/>
                  </a:lnTo>
                  <a:lnTo>
                    <a:pt x="1200" y="206"/>
                  </a:lnTo>
                  <a:lnTo>
                    <a:pt x="1195" y="195"/>
                  </a:lnTo>
                  <a:lnTo>
                    <a:pt x="1189" y="183"/>
                  </a:lnTo>
                  <a:lnTo>
                    <a:pt x="1182" y="173"/>
                  </a:lnTo>
                  <a:lnTo>
                    <a:pt x="1179" y="168"/>
                  </a:lnTo>
                  <a:lnTo>
                    <a:pt x="1175" y="163"/>
                  </a:lnTo>
                  <a:lnTo>
                    <a:pt x="1170" y="158"/>
                  </a:lnTo>
                  <a:lnTo>
                    <a:pt x="1166" y="154"/>
                  </a:lnTo>
                  <a:lnTo>
                    <a:pt x="1156" y="146"/>
                  </a:lnTo>
                  <a:lnTo>
                    <a:pt x="1146" y="139"/>
                  </a:lnTo>
                  <a:lnTo>
                    <a:pt x="1135" y="132"/>
                  </a:lnTo>
                  <a:lnTo>
                    <a:pt x="1129" y="130"/>
                  </a:lnTo>
                  <a:lnTo>
                    <a:pt x="1123" y="127"/>
                  </a:lnTo>
                  <a:lnTo>
                    <a:pt x="1110" y="123"/>
                  </a:lnTo>
                  <a:lnTo>
                    <a:pt x="1098" y="120"/>
                  </a:lnTo>
                  <a:lnTo>
                    <a:pt x="1084" y="118"/>
                  </a:lnTo>
                  <a:lnTo>
                    <a:pt x="1071" y="117"/>
                  </a:lnTo>
                  <a:lnTo>
                    <a:pt x="924" y="117"/>
                  </a:lnTo>
                  <a:lnTo>
                    <a:pt x="924" y="382"/>
                  </a:lnTo>
                  <a:lnTo>
                    <a:pt x="1071" y="382"/>
                  </a:lnTo>
                  <a:close/>
                  <a:moveTo>
                    <a:pt x="1793" y="0"/>
                  </a:moveTo>
                  <a:lnTo>
                    <a:pt x="1812" y="1"/>
                  </a:lnTo>
                  <a:lnTo>
                    <a:pt x="1832" y="2"/>
                  </a:lnTo>
                  <a:lnTo>
                    <a:pt x="1851" y="5"/>
                  </a:lnTo>
                  <a:lnTo>
                    <a:pt x="1871" y="8"/>
                  </a:lnTo>
                  <a:lnTo>
                    <a:pt x="1890" y="12"/>
                  </a:lnTo>
                  <a:lnTo>
                    <a:pt x="1899" y="15"/>
                  </a:lnTo>
                  <a:lnTo>
                    <a:pt x="1908" y="18"/>
                  </a:lnTo>
                  <a:lnTo>
                    <a:pt x="1917" y="20"/>
                  </a:lnTo>
                  <a:lnTo>
                    <a:pt x="1926" y="24"/>
                  </a:lnTo>
                  <a:lnTo>
                    <a:pt x="1943" y="30"/>
                  </a:lnTo>
                  <a:lnTo>
                    <a:pt x="1960" y="38"/>
                  </a:lnTo>
                  <a:lnTo>
                    <a:pt x="1977" y="47"/>
                  </a:lnTo>
                  <a:lnTo>
                    <a:pt x="1993" y="56"/>
                  </a:lnTo>
                  <a:lnTo>
                    <a:pt x="2008" y="66"/>
                  </a:lnTo>
                  <a:lnTo>
                    <a:pt x="2023" y="76"/>
                  </a:lnTo>
                  <a:lnTo>
                    <a:pt x="2038" y="88"/>
                  </a:lnTo>
                  <a:lnTo>
                    <a:pt x="2052" y="100"/>
                  </a:lnTo>
                  <a:lnTo>
                    <a:pt x="2058" y="106"/>
                  </a:lnTo>
                  <a:lnTo>
                    <a:pt x="2065" y="113"/>
                  </a:lnTo>
                  <a:lnTo>
                    <a:pt x="2077" y="126"/>
                  </a:lnTo>
                  <a:lnTo>
                    <a:pt x="2089" y="140"/>
                  </a:lnTo>
                  <a:lnTo>
                    <a:pt x="2095" y="147"/>
                  </a:lnTo>
                  <a:lnTo>
                    <a:pt x="2101" y="154"/>
                  </a:lnTo>
                  <a:lnTo>
                    <a:pt x="2111" y="169"/>
                  </a:lnTo>
                  <a:lnTo>
                    <a:pt x="2121" y="185"/>
                  </a:lnTo>
                  <a:lnTo>
                    <a:pt x="2131" y="201"/>
                  </a:lnTo>
                  <a:lnTo>
                    <a:pt x="2139" y="218"/>
                  </a:lnTo>
                  <a:lnTo>
                    <a:pt x="2147" y="235"/>
                  </a:lnTo>
                  <a:lnTo>
                    <a:pt x="2150" y="243"/>
                  </a:lnTo>
                  <a:lnTo>
                    <a:pt x="2153" y="252"/>
                  </a:lnTo>
                  <a:lnTo>
                    <a:pt x="2159" y="270"/>
                  </a:lnTo>
                  <a:lnTo>
                    <a:pt x="2165" y="288"/>
                  </a:lnTo>
                  <a:lnTo>
                    <a:pt x="2169" y="308"/>
                  </a:lnTo>
                  <a:lnTo>
                    <a:pt x="2171" y="317"/>
                  </a:lnTo>
                  <a:lnTo>
                    <a:pt x="2172" y="327"/>
                  </a:lnTo>
                  <a:lnTo>
                    <a:pt x="2175" y="346"/>
                  </a:lnTo>
                  <a:lnTo>
                    <a:pt x="2176" y="366"/>
                  </a:lnTo>
                  <a:lnTo>
                    <a:pt x="2177" y="385"/>
                  </a:lnTo>
                  <a:lnTo>
                    <a:pt x="2176" y="405"/>
                  </a:lnTo>
                  <a:lnTo>
                    <a:pt x="2175" y="425"/>
                  </a:lnTo>
                  <a:lnTo>
                    <a:pt x="2172" y="444"/>
                  </a:lnTo>
                  <a:lnTo>
                    <a:pt x="2169" y="463"/>
                  </a:lnTo>
                  <a:lnTo>
                    <a:pt x="2165" y="481"/>
                  </a:lnTo>
                  <a:lnTo>
                    <a:pt x="2162" y="491"/>
                  </a:lnTo>
                  <a:lnTo>
                    <a:pt x="2159" y="500"/>
                  </a:lnTo>
                  <a:lnTo>
                    <a:pt x="2157" y="509"/>
                  </a:lnTo>
                  <a:lnTo>
                    <a:pt x="2153" y="517"/>
                  </a:lnTo>
                  <a:lnTo>
                    <a:pt x="2147" y="535"/>
                  </a:lnTo>
                  <a:lnTo>
                    <a:pt x="2139" y="552"/>
                  </a:lnTo>
                  <a:lnTo>
                    <a:pt x="2131" y="568"/>
                  </a:lnTo>
                  <a:lnTo>
                    <a:pt x="2121" y="584"/>
                  </a:lnTo>
                  <a:lnTo>
                    <a:pt x="2111" y="600"/>
                  </a:lnTo>
                  <a:lnTo>
                    <a:pt x="2101" y="615"/>
                  </a:lnTo>
                  <a:lnTo>
                    <a:pt x="2089" y="629"/>
                  </a:lnTo>
                  <a:lnTo>
                    <a:pt x="2077" y="643"/>
                  </a:lnTo>
                  <a:lnTo>
                    <a:pt x="2071" y="649"/>
                  </a:lnTo>
                  <a:lnTo>
                    <a:pt x="2065" y="656"/>
                  </a:lnTo>
                  <a:lnTo>
                    <a:pt x="2052" y="669"/>
                  </a:lnTo>
                  <a:lnTo>
                    <a:pt x="2038" y="681"/>
                  </a:lnTo>
                  <a:lnTo>
                    <a:pt x="2031" y="686"/>
                  </a:lnTo>
                  <a:lnTo>
                    <a:pt x="2023" y="692"/>
                  </a:lnTo>
                  <a:lnTo>
                    <a:pt x="2008" y="702"/>
                  </a:lnTo>
                  <a:lnTo>
                    <a:pt x="2001" y="707"/>
                  </a:lnTo>
                  <a:lnTo>
                    <a:pt x="1993" y="712"/>
                  </a:lnTo>
                  <a:lnTo>
                    <a:pt x="1977" y="721"/>
                  </a:lnTo>
                  <a:lnTo>
                    <a:pt x="1960" y="730"/>
                  </a:lnTo>
                  <a:lnTo>
                    <a:pt x="1952" y="734"/>
                  </a:lnTo>
                  <a:lnTo>
                    <a:pt x="1943" y="737"/>
                  </a:lnTo>
                  <a:lnTo>
                    <a:pt x="1935" y="741"/>
                  </a:lnTo>
                  <a:lnTo>
                    <a:pt x="1926" y="744"/>
                  </a:lnTo>
                  <a:lnTo>
                    <a:pt x="1908" y="750"/>
                  </a:lnTo>
                  <a:lnTo>
                    <a:pt x="1890" y="755"/>
                  </a:lnTo>
                  <a:lnTo>
                    <a:pt x="1871" y="759"/>
                  </a:lnTo>
                  <a:lnTo>
                    <a:pt x="1851" y="763"/>
                  </a:lnTo>
                  <a:lnTo>
                    <a:pt x="1832" y="765"/>
                  </a:lnTo>
                  <a:lnTo>
                    <a:pt x="1812" y="767"/>
                  </a:lnTo>
                  <a:lnTo>
                    <a:pt x="1793" y="767"/>
                  </a:lnTo>
                  <a:lnTo>
                    <a:pt x="1773" y="767"/>
                  </a:lnTo>
                  <a:lnTo>
                    <a:pt x="1753" y="765"/>
                  </a:lnTo>
                  <a:lnTo>
                    <a:pt x="1734" y="763"/>
                  </a:lnTo>
                  <a:lnTo>
                    <a:pt x="1715" y="759"/>
                  </a:lnTo>
                  <a:lnTo>
                    <a:pt x="1697" y="755"/>
                  </a:lnTo>
                  <a:lnTo>
                    <a:pt x="1678" y="750"/>
                  </a:lnTo>
                  <a:lnTo>
                    <a:pt x="1669" y="747"/>
                  </a:lnTo>
                  <a:lnTo>
                    <a:pt x="1661" y="744"/>
                  </a:lnTo>
                  <a:lnTo>
                    <a:pt x="1643" y="737"/>
                  </a:lnTo>
                  <a:lnTo>
                    <a:pt x="1626" y="730"/>
                  </a:lnTo>
                  <a:lnTo>
                    <a:pt x="1610" y="721"/>
                  </a:lnTo>
                  <a:lnTo>
                    <a:pt x="1594" y="712"/>
                  </a:lnTo>
                  <a:lnTo>
                    <a:pt x="1578" y="702"/>
                  </a:lnTo>
                  <a:lnTo>
                    <a:pt x="1563" y="692"/>
                  </a:lnTo>
                  <a:lnTo>
                    <a:pt x="1549" y="681"/>
                  </a:lnTo>
                  <a:lnTo>
                    <a:pt x="1542" y="675"/>
                  </a:lnTo>
                  <a:lnTo>
                    <a:pt x="1535" y="669"/>
                  </a:lnTo>
                  <a:lnTo>
                    <a:pt x="1522" y="656"/>
                  </a:lnTo>
                  <a:lnTo>
                    <a:pt x="1509" y="643"/>
                  </a:lnTo>
                  <a:lnTo>
                    <a:pt x="1497" y="629"/>
                  </a:lnTo>
                  <a:lnTo>
                    <a:pt x="1492" y="622"/>
                  </a:lnTo>
                  <a:lnTo>
                    <a:pt x="1486" y="615"/>
                  </a:lnTo>
                  <a:lnTo>
                    <a:pt x="1476" y="600"/>
                  </a:lnTo>
                  <a:lnTo>
                    <a:pt x="1471" y="592"/>
                  </a:lnTo>
                  <a:lnTo>
                    <a:pt x="1466" y="584"/>
                  </a:lnTo>
                  <a:lnTo>
                    <a:pt x="1457" y="568"/>
                  </a:lnTo>
                  <a:lnTo>
                    <a:pt x="1448" y="552"/>
                  </a:lnTo>
                  <a:lnTo>
                    <a:pt x="1444" y="543"/>
                  </a:lnTo>
                  <a:lnTo>
                    <a:pt x="1441" y="535"/>
                  </a:lnTo>
                  <a:lnTo>
                    <a:pt x="1437" y="526"/>
                  </a:lnTo>
                  <a:lnTo>
                    <a:pt x="1434" y="517"/>
                  </a:lnTo>
                  <a:lnTo>
                    <a:pt x="1428" y="500"/>
                  </a:lnTo>
                  <a:lnTo>
                    <a:pt x="1423" y="481"/>
                  </a:lnTo>
                  <a:lnTo>
                    <a:pt x="1419" y="463"/>
                  </a:lnTo>
                  <a:lnTo>
                    <a:pt x="1415" y="444"/>
                  </a:lnTo>
                  <a:lnTo>
                    <a:pt x="1413" y="425"/>
                  </a:lnTo>
                  <a:lnTo>
                    <a:pt x="1411" y="405"/>
                  </a:lnTo>
                  <a:lnTo>
                    <a:pt x="1411" y="385"/>
                  </a:lnTo>
                  <a:lnTo>
                    <a:pt x="1411" y="366"/>
                  </a:lnTo>
                  <a:lnTo>
                    <a:pt x="1413" y="346"/>
                  </a:lnTo>
                  <a:lnTo>
                    <a:pt x="1415" y="327"/>
                  </a:lnTo>
                  <a:lnTo>
                    <a:pt x="1419" y="308"/>
                  </a:lnTo>
                  <a:lnTo>
                    <a:pt x="1423" y="288"/>
                  </a:lnTo>
                  <a:lnTo>
                    <a:pt x="1428" y="270"/>
                  </a:lnTo>
                  <a:lnTo>
                    <a:pt x="1431" y="261"/>
                  </a:lnTo>
                  <a:lnTo>
                    <a:pt x="1434" y="252"/>
                  </a:lnTo>
                  <a:lnTo>
                    <a:pt x="1437" y="243"/>
                  </a:lnTo>
                  <a:lnTo>
                    <a:pt x="1441" y="235"/>
                  </a:lnTo>
                  <a:lnTo>
                    <a:pt x="1448" y="218"/>
                  </a:lnTo>
                  <a:lnTo>
                    <a:pt x="1457" y="201"/>
                  </a:lnTo>
                  <a:lnTo>
                    <a:pt x="1466" y="185"/>
                  </a:lnTo>
                  <a:lnTo>
                    <a:pt x="1476" y="169"/>
                  </a:lnTo>
                  <a:lnTo>
                    <a:pt x="1486" y="154"/>
                  </a:lnTo>
                  <a:lnTo>
                    <a:pt x="1497" y="140"/>
                  </a:lnTo>
                  <a:lnTo>
                    <a:pt x="1503" y="133"/>
                  </a:lnTo>
                  <a:lnTo>
                    <a:pt x="1509" y="126"/>
                  </a:lnTo>
                  <a:lnTo>
                    <a:pt x="1522" y="113"/>
                  </a:lnTo>
                  <a:lnTo>
                    <a:pt x="1535" y="100"/>
                  </a:lnTo>
                  <a:lnTo>
                    <a:pt x="1542" y="94"/>
                  </a:lnTo>
                  <a:lnTo>
                    <a:pt x="1549" y="88"/>
                  </a:lnTo>
                  <a:lnTo>
                    <a:pt x="1563" y="76"/>
                  </a:lnTo>
                  <a:lnTo>
                    <a:pt x="1578" y="66"/>
                  </a:lnTo>
                  <a:lnTo>
                    <a:pt x="1594" y="56"/>
                  </a:lnTo>
                  <a:lnTo>
                    <a:pt x="1610" y="47"/>
                  </a:lnTo>
                  <a:lnTo>
                    <a:pt x="1626" y="38"/>
                  </a:lnTo>
                  <a:lnTo>
                    <a:pt x="1643" y="30"/>
                  </a:lnTo>
                  <a:lnTo>
                    <a:pt x="1652" y="27"/>
                  </a:lnTo>
                  <a:lnTo>
                    <a:pt x="1661" y="24"/>
                  </a:lnTo>
                  <a:lnTo>
                    <a:pt x="1669" y="20"/>
                  </a:lnTo>
                  <a:lnTo>
                    <a:pt x="1678" y="18"/>
                  </a:lnTo>
                  <a:lnTo>
                    <a:pt x="1697" y="12"/>
                  </a:lnTo>
                  <a:lnTo>
                    <a:pt x="1715" y="8"/>
                  </a:lnTo>
                  <a:lnTo>
                    <a:pt x="1725" y="6"/>
                  </a:lnTo>
                  <a:lnTo>
                    <a:pt x="1734" y="5"/>
                  </a:lnTo>
                  <a:lnTo>
                    <a:pt x="1753" y="2"/>
                  </a:lnTo>
                  <a:lnTo>
                    <a:pt x="1773" y="1"/>
                  </a:lnTo>
                  <a:lnTo>
                    <a:pt x="1793" y="0"/>
                  </a:lnTo>
                  <a:close/>
                  <a:moveTo>
                    <a:pt x="1793" y="661"/>
                  </a:moveTo>
                  <a:lnTo>
                    <a:pt x="1807" y="660"/>
                  </a:lnTo>
                  <a:lnTo>
                    <a:pt x="1821" y="659"/>
                  </a:lnTo>
                  <a:lnTo>
                    <a:pt x="1835" y="658"/>
                  </a:lnTo>
                  <a:lnTo>
                    <a:pt x="1848" y="655"/>
                  </a:lnTo>
                  <a:lnTo>
                    <a:pt x="1862" y="652"/>
                  </a:lnTo>
                  <a:lnTo>
                    <a:pt x="1876" y="648"/>
                  </a:lnTo>
                  <a:lnTo>
                    <a:pt x="1888" y="644"/>
                  </a:lnTo>
                  <a:lnTo>
                    <a:pt x="1901" y="639"/>
                  </a:lnTo>
                  <a:lnTo>
                    <a:pt x="1913" y="634"/>
                  </a:lnTo>
                  <a:lnTo>
                    <a:pt x="1925" y="628"/>
                  </a:lnTo>
                  <a:lnTo>
                    <a:pt x="1931" y="624"/>
                  </a:lnTo>
                  <a:lnTo>
                    <a:pt x="1937" y="621"/>
                  </a:lnTo>
                  <a:lnTo>
                    <a:pt x="1948" y="614"/>
                  </a:lnTo>
                  <a:lnTo>
                    <a:pt x="1959" y="606"/>
                  </a:lnTo>
                  <a:lnTo>
                    <a:pt x="1969" y="598"/>
                  </a:lnTo>
                  <a:lnTo>
                    <a:pt x="1979" y="589"/>
                  </a:lnTo>
                  <a:lnTo>
                    <a:pt x="1989" y="580"/>
                  </a:lnTo>
                  <a:lnTo>
                    <a:pt x="1998" y="571"/>
                  </a:lnTo>
                  <a:lnTo>
                    <a:pt x="2007" y="561"/>
                  </a:lnTo>
                  <a:lnTo>
                    <a:pt x="2015" y="550"/>
                  </a:lnTo>
                  <a:lnTo>
                    <a:pt x="2023" y="539"/>
                  </a:lnTo>
                  <a:lnTo>
                    <a:pt x="2030" y="528"/>
                  </a:lnTo>
                  <a:lnTo>
                    <a:pt x="2037" y="517"/>
                  </a:lnTo>
                  <a:lnTo>
                    <a:pt x="2043" y="505"/>
                  </a:lnTo>
                  <a:lnTo>
                    <a:pt x="2048" y="493"/>
                  </a:lnTo>
                  <a:lnTo>
                    <a:pt x="2053" y="480"/>
                  </a:lnTo>
                  <a:lnTo>
                    <a:pt x="2058" y="467"/>
                  </a:lnTo>
                  <a:lnTo>
                    <a:pt x="2061" y="454"/>
                  </a:lnTo>
                  <a:lnTo>
                    <a:pt x="2065" y="441"/>
                  </a:lnTo>
                  <a:lnTo>
                    <a:pt x="2067" y="427"/>
                  </a:lnTo>
                  <a:lnTo>
                    <a:pt x="2069" y="413"/>
                  </a:lnTo>
                  <a:lnTo>
                    <a:pt x="2070" y="399"/>
                  </a:lnTo>
                  <a:lnTo>
                    <a:pt x="2070" y="385"/>
                  </a:lnTo>
                  <a:lnTo>
                    <a:pt x="2070" y="371"/>
                  </a:lnTo>
                  <a:lnTo>
                    <a:pt x="2069" y="357"/>
                  </a:lnTo>
                  <a:lnTo>
                    <a:pt x="2067" y="344"/>
                  </a:lnTo>
                  <a:lnTo>
                    <a:pt x="2065" y="330"/>
                  </a:lnTo>
                  <a:lnTo>
                    <a:pt x="2061" y="317"/>
                  </a:lnTo>
                  <a:lnTo>
                    <a:pt x="2058" y="304"/>
                  </a:lnTo>
                  <a:lnTo>
                    <a:pt x="2053" y="290"/>
                  </a:lnTo>
                  <a:lnTo>
                    <a:pt x="2048" y="277"/>
                  </a:lnTo>
                  <a:lnTo>
                    <a:pt x="2043" y="265"/>
                  </a:lnTo>
                  <a:lnTo>
                    <a:pt x="2037" y="253"/>
                  </a:lnTo>
                  <a:lnTo>
                    <a:pt x="2030" y="241"/>
                  </a:lnTo>
                  <a:lnTo>
                    <a:pt x="2023" y="230"/>
                  </a:lnTo>
                  <a:lnTo>
                    <a:pt x="2015" y="219"/>
                  </a:lnTo>
                  <a:lnTo>
                    <a:pt x="2007" y="209"/>
                  </a:lnTo>
                  <a:lnTo>
                    <a:pt x="1998" y="199"/>
                  </a:lnTo>
                  <a:lnTo>
                    <a:pt x="1989" y="189"/>
                  </a:lnTo>
                  <a:lnTo>
                    <a:pt x="1979" y="180"/>
                  </a:lnTo>
                  <a:lnTo>
                    <a:pt x="1969" y="171"/>
                  </a:lnTo>
                  <a:lnTo>
                    <a:pt x="1959" y="163"/>
                  </a:lnTo>
                  <a:lnTo>
                    <a:pt x="1948" y="155"/>
                  </a:lnTo>
                  <a:lnTo>
                    <a:pt x="1937" y="147"/>
                  </a:lnTo>
                  <a:lnTo>
                    <a:pt x="1925" y="141"/>
                  </a:lnTo>
                  <a:lnTo>
                    <a:pt x="1913" y="135"/>
                  </a:lnTo>
                  <a:lnTo>
                    <a:pt x="1901" y="129"/>
                  </a:lnTo>
                  <a:lnTo>
                    <a:pt x="1888" y="124"/>
                  </a:lnTo>
                  <a:lnTo>
                    <a:pt x="1876" y="119"/>
                  </a:lnTo>
                  <a:lnTo>
                    <a:pt x="1862" y="116"/>
                  </a:lnTo>
                  <a:lnTo>
                    <a:pt x="1848" y="113"/>
                  </a:lnTo>
                  <a:lnTo>
                    <a:pt x="1835" y="110"/>
                  </a:lnTo>
                  <a:lnTo>
                    <a:pt x="1821" y="108"/>
                  </a:lnTo>
                  <a:lnTo>
                    <a:pt x="1807" y="107"/>
                  </a:lnTo>
                  <a:lnTo>
                    <a:pt x="1793" y="107"/>
                  </a:lnTo>
                  <a:lnTo>
                    <a:pt x="1779" y="107"/>
                  </a:lnTo>
                  <a:lnTo>
                    <a:pt x="1765" y="108"/>
                  </a:lnTo>
                  <a:lnTo>
                    <a:pt x="1751" y="110"/>
                  </a:lnTo>
                  <a:lnTo>
                    <a:pt x="1737" y="113"/>
                  </a:lnTo>
                  <a:lnTo>
                    <a:pt x="1724" y="116"/>
                  </a:lnTo>
                  <a:lnTo>
                    <a:pt x="1711" y="119"/>
                  </a:lnTo>
                  <a:lnTo>
                    <a:pt x="1698" y="124"/>
                  </a:lnTo>
                  <a:lnTo>
                    <a:pt x="1686" y="129"/>
                  </a:lnTo>
                  <a:lnTo>
                    <a:pt x="1674" y="135"/>
                  </a:lnTo>
                  <a:lnTo>
                    <a:pt x="1662" y="141"/>
                  </a:lnTo>
                  <a:lnTo>
                    <a:pt x="1650" y="147"/>
                  </a:lnTo>
                  <a:lnTo>
                    <a:pt x="1639" y="155"/>
                  </a:lnTo>
                  <a:lnTo>
                    <a:pt x="1628" y="163"/>
                  </a:lnTo>
                  <a:lnTo>
                    <a:pt x="1618" y="171"/>
                  </a:lnTo>
                  <a:lnTo>
                    <a:pt x="1608" y="180"/>
                  </a:lnTo>
                  <a:lnTo>
                    <a:pt x="1598" y="189"/>
                  </a:lnTo>
                  <a:lnTo>
                    <a:pt x="1589" y="199"/>
                  </a:lnTo>
                  <a:lnTo>
                    <a:pt x="1580" y="209"/>
                  </a:lnTo>
                  <a:lnTo>
                    <a:pt x="1572" y="219"/>
                  </a:lnTo>
                  <a:lnTo>
                    <a:pt x="1565" y="230"/>
                  </a:lnTo>
                  <a:lnTo>
                    <a:pt x="1557" y="241"/>
                  </a:lnTo>
                  <a:lnTo>
                    <a:pt x="1551" y="253"/>
                  </a:lnTo>
                  <a:lnTo>
                    <a:pt x="1545" y="265"/>
                  </a:lnTo>
                  <a:lnTo>
                    <a:pt x="1539" y="277"/>
                  </a:lnTo>
                  <a:lnTo>
                    <a:pt x="1534" y="290"/>
                  </a:lnTo>
                  <a:lnTo>
                    <a:pt x="1530" y="304"/>
                  </a:lnTo>
                  <a:lnTo>
                    <a:pt x="1526" y="317"/>
                  </a:lnTo>
                  <a:lnTo>
                    <a:pt x="1523" y="330"/>
                  </a:lnTo>
                  <a:lnTo>
                    <a:pt x="1520" y="344"/>
                  </a:lnTo>
                  <a:lnTo>
                    <a:pt x="1519" y="357"/>
                  </a:lnTo>
                  <a:lnTo>
                    <a:pt x="1518" y="371"/>
                  </a:lnTo>
                  <a:lnTo>
                    <a:pt x="1517" y="385"/>
                  </a:lnTo>
                  <a:lnTo>
                    <a:pt x="1518" y="399"/>
                  </a:lnTo>
                  <a:lnTo>
                    <a:pt x="1519" y="413"/>
                  </a:lnTo>
                  <a:lnTo>
                    <a:pt x="1520" y="427"/>
                  </a:lnTo>
                  <a:lnTo>
                    <a:pt x="1523" y="441"/>
                  </a:lnTo>
                  <a:lnTo>
                    <a:pt x="1526" y="454"/>
                  </a:lnTo>
                  <a:lnTo>
                    <a:pt x="1530" y="467"/>
                  </a:lnTo>
                  <a:lnTo>
                    <a:pt x="1534" y="480"/>
                  </a:lnTo>
                  <a:lnTo>
                    <a:pt x="1539" y="493"/>
                  </a:lnTo>
                  <a:lnTo>
                    <a:pt x="1545" y="505"/>
                  </a:lnTo>
                  <a:lnTo>
                    <a:pt x="1551" y="517"/>
                  </a:lnTo>
                  <a:lnTo>
                    <a:pt x="1557" y="528"/>
                  </a:lnTo>
                  <a:lnTo>
                    <a:pt x="1565" y="539"/>
                  </a:lnTo>
                  <a:lnTo>
                    <a:pt x="1572" y="550"/>
                  </a:lnTo>
                  <a:lnTo>
                    <a:pt x="1580" y="561"/>
                  </a:lnTo>
                  <a:lnTo>
                    <a:pt x="1589" y="571"/>
                  </a:lnTo>
                  <a:lnTo>
                    <a:pt x="1598" y="580"/>
                  </a:lnTo>
                  <a:lnTo>
                    <a:pt x="1608" y="589"/>
                  </a:lnTo>
                  <a:lnTo>
                    <a:pt x="1618" y="598"/>
                  </a:lnTo>
                  <a:lnTo>
                    <a:pt x="1628" y="606"/>
                  </a:lnTo>
                  <a:lnTo>
                    <a:pt x="1639" y="614"/>
                  </a:lnTo>
                  <a:lnTo>
                    <a:pt x="1650" y="621"/>
                  </a:lnTo>
                  <a:lnTo>
                    <a:pt x="1662" y="628"/>
                  </a:lnTo>
                  <a:lnTo>
                    <a:pt x="1674" y="634"/>
                  </a:lnTo>
                  <a:lnTo>
                    <a:pt x="1686" y="639"/>
                  </a:lnTo>
                  <a:lnTo>
                    <a:pt x="1698" y="644"/>
                  </a:lnTo>
                  <a:lnTo>
                    <a:pt x="1711" y="648"/>
                  </a:lnTo>
                  <a:lnTo>
                    <a:pt x="1724" y="652"/>
                  </a:lnTo>
                  <a:lnTo>
                    <a:pt x="1737" y="655"/>
                  </a:lnTo>
                  <a:lnTo>
                    <a:pt x="1751" y="658"/>
                  </a:lnTo>
                  <a:lnTo>
                    <a:pt x="1765" y="659"/>
                  </a:lnTo>
                  <a:lnTo>
                    <a:pt x="1779" y="660"/>
                  </a:lnTo>
                  <a:lnTo>
                    <a:pt x="1793" y="661"/>
                  </a:lnTo>
                  <a:close/>
                  <a:moveTo>
                    <a:pt x="2426" y="111"/>
                  </a:moveTo>
                  <a:lnTo>
                    <a:pt x="2235" y="111"/>
                  </a:lnTo>
                  <a:lnTo>
                    <a:pt x="2230" y="111"/>
                  </a:lnTo>
                  <a:lnTo>
                    <a:pt x="2227" y="109"/>
                  </a:lnTo>
                  <a:lnTo>
                    <a:pt x="2223" y="107"/>
                  </a:lnTo>
                  <a:lnTo>
                    <a:pt x="2220" y="105"/>
                  </a:lnTo>
                  <a:lnTo>
                    <a:pt x="2218" y="102"/>
                  </a:lnTo>
                  <a:lnTo>
                    <a:pt x="2216" y="98"/>
                  </a:lnTo>
                  <a:lnTo>
                    <a:pt x="2215" y="95"/>
                  </a:lnTo>
                  <a:lnTo>
                    <a:pt x="2214" y="91"/>
                  </a:lnTo>
                  <a:lnTo>
                    <a:pt x="2214" y="31"/>
                  </a:lnTo>
                  <a:lnTo>
                    <a:pt x="2215" y="27"/>
                  </a:lnTo>
                  <a:lnTo>
                    <a:pt x="2216" y="24"/>
                  </a:lnTo>
                  <a:lnTo>
                    <a:pt x="2218" y="20"/>
                  </a:lnTo>
                  <a:lnTo>
                    <a:pt x="2220" y="17"/>
                  </a:lnTo>
                  <a:lnTo>
                    <a:pt x="2223" y="15"/>
                  </a:lnTo>
                  <a:lnTo>
                    <a:pt x="2227" y="13"/>
                  </a:lnTo>
                  <a:lnTo>
                    <a:pt x="2230" y="11"/>
                  </a:lnTo>
                  <a:lnTo>
                    <a:pt x="2235" y="11"/>
                  </a:lnTo>
                  <a:lnTo>
                    <a:pt x="2727" y="11"/>
                  </a:lnTo>
                  <a:lnTo>
                    <a:pt x="2732" y="11"/>
                  </a:lnTo>
                  <a:lnTo>
                    <a:pt x="2736" y="13"/>
                  </a:lnTo>
                  <a:lnTo>
                    <a:pt x="2739" y="15"/>
                  </a:lnTo>
                  <a:lnTo>
                    <a:pt x="2742" y="17"/>
                  </a:lnTo>
                  <a:lnTo>
                    <a:pt x="2744" y="20"/>
                  </a:lnTo>
                  <a:lnTo>
                    <a:pt x="2746" y="24"/>
                  </a:lnTo>
                  <a:lnTo>
                    <a:pt x="2747" y="27"/>
                  </a:lnTo>
                  <a:lnTo>
                    <a:pt x="2748" y="31"/>
                  </a:lnTo>
                  <a:lnTo>
                    <a:pt x="2748" y="91"/>
                  </a:lnTo>
                  <a:lnTo>
                    <a:pt x="2747" y="95"/>
                  </a:lnTo>
                  <a:lnTo>
                    <a:pt x="2746" y="98"/>
                  </a:lnTo>
                  <a:lnTo>
                    <a:pt x="2744" y="102"/>
                  </a:lnTo>
                  <a:lnTo>
                    <a:pt x="2742" y="105"/>
                  </a:lnTo>
                  <a:lnTo>
                    <a:pt x="2739" y="107"/>
                  </a:lnTo>
                  <a:lnTo>
                    <a:pt x="2736" y="109"/>
                  </a:lnTo>
                  <a:lnTo>
                    <a:pt x="2732" y="111"/>
                  </a:lnTo>
                  <a:lnTo>
                    <a:pt x="2727" y="111"/>
                  </a:lnTo>
                  <a:lnTo>
                    <a:pt x="2536" y="111"/>
                  </a:lnTo>
                  <a:lnTo>
                    <a:pt x="2536" y="736"/>
                  </a:lnTo>
                  <a:lnTo>
                    <a:pt x="2536" y="740"/>
                  </a:lnTo>
                  <a:lnTo>
                    <a:pt x="2535" y="744"/>
                  </a:lnTo>
                  <a:lnTo>
                    <a:pt x="2533" y="747"/>
                  </a:lnTo>
                  <a:lnTo>
                    <a:pt x="2530" y="750"/>
                  </a:lnTo>
                  <a:lnTo>
                    <a:pt x="2527" y="753"/>
                  </a:lnTo>
                  <a:lnTo>
                    <a:pt x="2524" y="755"/>
                  </a:lnTo>
                  <a:lnTo>
                    <a:pt x="2520" y="756"/>
                  </a:lnTo>
                  <a:lnTo>
                    <a:pt x="2516" y="757"/>
                  </a:lnTo>
                  <a:lnTo>
                    <a:pt x="2446" y="757"/>
                  </a:lnTo>
                  <a:lnTo>
                    <a:pt x="2442" y="756"/>
                  </a:lnTo>
                  <a:lnTo>
                    <a:pt x="2438" y="755"/>
                  </a:lnTo>
                  <a:lnTo>
                    <a:pt x="2435" y="753"/>
                  </a:lnTo>
                  <a:lnTo>
                    <a:pt x="2432" y="750"/>
                  </a:lnTo>
                  <a:lnTo>
                    <a:pt x="2429" y="747"/>
                  </a:lnTo>
                  <a:lnTo>
                    <a:pt x="2427" y="744"/>
                  </a:lnTo>
                  <a:lnTo>
                    <a:pt x="2426" y="740"/>
                  </a:lnTo>
                  <a:lnTo>
                    <a:pt x="2426" y="736"/>
                  </a:lnTo>
                  <a:lnTo>
                    <a:pt x="2426" y="111"/>
                  </a:lnTo>
                  <a:close/>
                  <a:moveTo>
                    <a:pt x="2885" y="31"/>
                  </a:moveTo>
                  <a:lnTo>
                    <a:pt x="2885" y="27"/>
                  </a:lnTo>
                  <a:lnTo>
                    <a:pt x="2886" y="24"/>
                  </a:lnTo>
                  <a:lnTo>
                    <a:pt x="2888" y="20"/>
                  </a:lnTo>
                  <a:lnTo>
                    <a:pt x="2891" y="17"/>
                  </a:lnTo>
                  <a:lnTo>
                    <a:pt x="2893" y="15"/>
                  </a:lnTo>
                  <a:lnTo>
                    <a:pt x="2897" y="13"/>
                  </a:lnTo>
                  <a:lnTo>
                    <a:pt x="2901" y="11"/>
                  </a:lnTo>
                  <a:lnTo>
                    <a:pt x="2905" y="11"/>
                  </a:lnTo>
                  <a:lnTo>
                    <a:pt x="3331" y="11"/>
                  </a:lnTo>
                  <a:lnTo>
                    <a:pt x="3336" y="11"/>
                  </a:lnTo>
                  <a:lnTo>
                    <a:pt x="3340" y="13"/>
                  </a:lnTo>
                  <a:lnTo>
                    <a:pt x="3343" y="15"/>
                  </a:lnTo>
                  <a:lnTo>
                    <a:pt x="3346" y="17"/>
                  </a:lnTo>
                  <a:lnTo>
                    <a:pt x="3348" y="20"/>
                  </a:lnTo>
                  <a:lnTo>
                    <a:pt x="3350" y="24"/>
                  </a:lnTo>
                  <a:lnTo>
                    <a:pt x="3351" y="27"/>
                  </a:lnTo>
                  <a:lnTo>
                    <a:pt x="3352" y="31"/>
                  </a:lnTo>
                  <a:lnTo>
                    <a:pt x="3352" y="91"/>
                  </a:lnTo>
                  <a:lnTo>
                    <a:pt x="3351" y="95"/>
                  </a:lnTo>
                  <a:lnTo>
                    <a:pt x="3350" y="98"/>
                  </a:lnTo>
                  <a:lnTo>
                    <a:pt x="3348" y="102"/>
                  </a:lnTo>
                  <a:lnTo>
                    <a:pt x="3346" y="105"/>
                  </a:lnTo>
                  <a:lnTo>
                    <a:pt x="3343" y="107"/>
                  </a:lnTo>
                  <a:lnTo>
                    <a:pt x="3340" y="109"/>
                  </a:lnTo>
                  <a:lnTo>
                    <a:pt x="3336" y="111"/>
                  </a:lnTo>
                  <a:lnTo>
                    <a:pt x="3331" y="111"/>
                  </a:lnTo>
                  <a:lnTo>
                    <a:pt x="2994" y="111"/>
                  </a:lnTo>
                  <a:lnTo>
                    <a:pt x="2994" y="329"/>
                  </a:lnTo>
                  <a:lnTo>
                    <a:pt x="3278" y="329"/>
                  </a:lnTo>
                  <a:lnTo>
                    <a:pt x="3282" y="329"/>
                  </a:lnTo>
                  <a:lnTo>
                    <a:pt x="3286" y="331"/>
                  </a:lnTo>
                  <a:lnTo>
                    <a:pt x="3289" y="333"/>
                  </a:lnTo>
                  <a:lnTo>
                    <a:pt x="3292" y="335"/>
                  </a:lnTo>
                  <a:lnTo>
                    <a:pt x="3295" y="338"/>
                  </a:lnTo>
                  <a:lnTo>
                    <a:pt x="3297" y="342"/>
                  </a:lnTo>
                  <a:lnTo>
                    <a:pt x="3298" y="345"/>
                  </a:lnTo>
                  <a:lnTo>
                    <a:pt x="3298" y="349"/>
                  </a:lnTo>
                  <a:lnTo>
                    <a:pt x="3298" y="409"/>
                  </a:lnTo>
                  <a:lnTo>
                    <a:pt x="3298" y="413"/>
                  </a:lnTo>
                  <a:lnTo>
                    <a:pt x="3297" y="417"/>
                  </a:lnTo>
                  <a:lnTo>
                    <a:pt x="3295" y="420"/>
                  </a:lnTo>
                  <a:lnTo>
                    <a:pt x="3292" y="423"/>
                  </a:lnTo>
                  <a:lnTo>
                    <a:pt x="3289" y="426"/>
                  </a:lnTo>
                  <a:lnTo>
                    <a:pt x="3286" y="427"/>
                  </a:lnTo>
                  <a:lnTo>
                    <a:pt x="3282" y="429"/>
                  </a:lnTo>
                  <a:lnTo>
                    <a:pt x="3278" y="429"/>
                  </a:lnTo>
                  <a:lnTo>
                    <a:pt x="2994" y="429"/>
                  </a:lnTo>
                  <a:lnTo>
                    <a:pt x="2994" y="658"/>
                  </a:lnTo>
                  <a:lnTo>
                    <a:pt x="3331" y="658"/>
                  </a:lnTo>
                  <a:lnTo>
                    <a:pt x="3336" y="658"/>
                  </a:lnTo>
                  <a:lnTo>
                    <a:pt x="3340" y="659"/>
                  </a:lnTo>
                  <a:lnTo>
                    <a:pt x="3343" y="661"/>
                  </a:lnTo>
                  <a:lnTo>
                    <a:pt x="3346" y="664"/>
                  </a:lnTo>
                  <a:lnTo>
                    <a:pt x="3348" y="667"/>
                  </a:lnTo>
                  <a:lnTo>
                    <a:pt x="3350" y="670"/>
                  </a:lnTo>
                  <a:lnTo>
                    <a:pt x="3351" y="674"/>
                  </a:lnTo>
                  <a:lnTo>
                    <a:pt x="3352" y="678"/>
                  </a:lnTo>
                  <a:lnTo>
                    <a:pt x="3352" y="736"/>
                  </a:lnTo>
                  <a:lnTo>
                    <a:pt x="3351" y="740"/>
                  </a:lnTo>
                  <a:lnTo>
                    <a:pt x="3350" y="744"/>
                  </a:lnTo>
                  <a:lnTo>
                    <a:pt x="3348" y="747"/>
                  </a:lnTo>
                  <a:lnTo>
                    <a:pt x="3346" y="750"/>
                  </a:lnTo>
                  <a:lnTo>
                    <a:pt x="3343" y="753"/>
                  </a:lnTo>
                  <a:lnTo>
                    <a:pt x="3340" y="755"/>
                  </a:lnTo>
                  <a:lnTo>
                    <a:pt x="3336" y="756"/>
                  </a:lnTo>
                  <a:lnTo>
                    <a:pt x="3331" y="757"/>
                  </a:lnTo>
                  <a:lnTo>
                    <a:pt x="2905" y="757"/>
                  </a:lnTo>
                  <a:lnTo>
                    <a:pt x="2901" y="756"/>
                  </a:lnTo>
                  <a:lnTo>
                    <a:pt x="2897" y="755"/>
                  </a:lnTo>
                  <a:lnTo>
                    <a:pt x="2893" y="753"/>
                  </a:lnTo>
                  <a:lnTo>
                    <a:pt x="2891" y="750"/>
                  </a:lnTo>
                  <a:lnTo>
                    <a:pt x="2888" y="747"/>
                  </a:lnTo>
                  <a:lnTo>
                    <a:pt x="2886" y="744"/>
                  </a:lnTo>
                  <a:lnTo>
                    <a:pt x="2885" y="740"/>
                  </a:lnTo>
                  <a:lnTo>
                    <a:pt x="2885" y="736"/>
                  </a:lnTo>
                  <a:lnTo>
                    <a:pt x="2885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9626077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PIC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5375920" y="0"/>
            <a:ext cx="6816080" cy="6777038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6763" y="5085230"/>
            <a:ext cx="3889037" cy="936130"/>
          </a:xfrm>
        </p:spPr>
        <p:txBody>
          <a:bodyPr anchor="t" anchorCtr="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CB18748B-A1A6-45E9-A4A1-FBF67E69C8AB}" type="datetime1">
              <a:rPr lang="fi-FI" smtClean="0"/>
              <a:t>31.3.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Presentation name and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50B285B-2D20-4CC2-81CD-215A1F1E1130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2" name="Group 11"/>
          <p:cNvGrpSpPr>
            <a:grpSpLocks noChangeAspect="1"/>
          </p:cNvGrpSpPr>
          <p:nvPr userDrawn="1"/>
        </p:nvGrpSpPr>
        <p:grpSpPr>
          <a:xfrm>
            <a:off x="767260" y="566640"/>
            <a:ext cx="1703100" cy="270000"/>
            <a:chOff x="1455738" y="2698750"/>
            <a:chExt cx="9272588" cy="1470025"/>
          </a:xfrm>
        </p:grpSpPr>
        <p:sp>
          <p:nvSpPr>
            <p:cNvPr id="13" name="Freeform 6"/>
            <p:cNvSpPr>
              <a:spLocks noEditPoints="1"/>
            </p:cNvSpPr>
            <p:nvPr userDrawn="1"/>
          </p:nvSpPr>
          <p:spPr bwMode="auto">
            <a:xfrm>
              <a:off x="1455738" y="2698750"/>
              <a:ext cx="2762250" cy="1416050"/>
            </a:xfrm>
            <a:custGeom>
              <a:avLst/>
              <a:gdLst>
                <a:gd name="T0" fmla="*/ 1740 w 1740"/>
                <a:gd name="T1" fmla="*/ 192 h 892"/>
                <a:gd name="T2" fmla="*/ 1591 w 1740"/>
                <a:gd name="T3" fmla="*/ 483 h 892"/>
                <a:gd name="T4" fmla="*/ 1457 w 1740"/>
                <a:gd name="T5" fmla="*/ 741 h 892"/>
                <a:gd name="T6" fmla="*/ 1047 w 1740"/>
                <a:gd name="T7" fmla="*/ 709 h 892"/>
                <a:gd name="T8" fmla="*/ 607 w 1740"/>
                <a:gd name="T9" fmla="*/ 713 h 892"/>
                <a:gd name="T10" fmla="*/ 257 w 1740"/>
                <a:gd name="T11" fmla="*/ 742 h 892"/>
                <a:gd name="T12" fmla="*/ 149 w 1740"/>
                <a:gd name="T13" fmla="*/ 483 h 892"/>
                <a:gd name="T14" fmla="*/ 0 w 1740"/>
                <a:gd name="T15" fmla="*/ 189 h 892"/>
                <a:gd name="T16" fmla="*/ 36 w 1740"/>
                <a:gd name="T17" fmla="*/ 180 h 892"/>
                <a:gd name="T18" fmla="*/ 121 w 1740"/>
                <a:gd name="T19" fmla="*/ 218 h 892"/>
                <a:gd name="T20" fmla="*/ 194 w 1740"/>
                <a:gd name="T21" fmla="*/ 280 h 892"/>
                <a:gd name="T22" fmla="*/ 249 w 1740"/>
                <a:gd name="T23" fmla="*/ 235 h 892"/>
                <a:gd name="T24" fmla="*/ 335 w 1740"/>
                <a:gd name="T25" fmla="*/ 232 h 892"/>
                <a:gd name="T26" fmla="*/ 390 w 1740"/>
                <a:gd name="T27" fmla="*/ 272 h 892"/>
                <a:gd name="T28" fmla="*/ 362 w 1740"/>
                <a:gd name="T29" fmla="*/ 310 h 892"/>
                <a:gd name="T30" fmla="*/ 334 w 1740"/>
                <a:gd name="T31" fmla="*/ 386 h 892"/>
                <a:gd name="T32" fmla="*/ 344 w 1740"/>
                <a:gd name="T33" fmla="*/ 462 h 892"/>
                <a:gd name="T34" fmla="*/ 405 w 1740"/>
                <a:gd name="T35" fmla="*/ 538 h 892"/>
                <a:gd name="T36" fmla="*/ 492 w 1740"/>
                <a:gd name="T37" fmla="*/ 572 h 892"/>
                <a:gd name="T38" fmla="*/ 590 w 1740"/>
                <a:gd name="T39" fmla="*/ 561 h 892"/>
                <a:gd name="T40" fmla="*/ 658 w 1740"/>
                <a:gd name="T41" fmla="*/ 519 h 892"/>
                <a:gd name="T42" fmla="*/ 706 w 1740"/>
                <a:gd name="T43" fmla="*/ 439 h 892"/>
                <a:gd name="T44" fmla="*/ 704 w 1740"/>
                <a:gd name="T45" fmla="*/ 352 h 892"/>
                <a:gd name="T46" fmla="*/ 653 w 1740"/>
                <a:gd name="T47" fmla="*/ 275 h 892"/>
                <a:gd name="T48" fmla="*/ 596 w 1740"/>
                <a:gd name="T49" fmla="*/ 239 h 892"/>
                <a:gd name="T50" fmla="*/ 615 w 1740"/>
                <a:gd name="T51" fmla="*/ 201 h 892"/>
                <a:gd name="T52" fmla="*/ 678 w 1740"/>
                <a:gd name="T53" fmla="*/ 167 h 892"/>
                <a:gd name="T54" fmla="*/ 760 w 1740"/>
                <a:gd name="T55" fmla="*/ 178 h 892"/>
                <a:gd name="T56" fmla="*/ 790 w 1740"/>
                <a:gd name="T57" fmla="*/ 100 h 892"/>
                <a:gd name="T58" fmla="*/ 822 w 1740"/>
                <a:gd name="T59" fmla="*/ 39 h 892"/>
                <a:gd name="T60" fmla="*/ 871 w 1740"/>
                <a:gd name="T61" fmla="*/ 0 h 892"/>
                <a:gd name="T62" fmla="*/ 920 w 1740"/>
                <a:gd name="T63" fmla="*/ 39 h 892"/>
                <a:gd name="T64" fmla="*/ 962 w 1740"/>
                <a:gd name="T65" fmla="*/ 152 h 892"/>
                <a:gd name="T66" fmla="*/ 1027 w 1740"/>
                <a:gd name="T67" fmla="*/ 165 h 892"/>
                <a:gd name="T68" fmla="*/ 1093 w 1740"/>
                <a:gd name="T69" fmla="*/ 177 h 892"/>
                <a:gd name="T70" fmla="*/ 1145 w 1740"/>
                <a:gd name="T71" fmla="*/ 228 h 892"/>
                <a:gd name="T72" fmla="*/ 1134 w 1740"/>
                <a:gd name="T73" fmla="*/ 245 h 892"/>
                <a:gd name="T74" fmla="*/ 1062 w 1740"/>
                <a:gd name="T75" fmla="*/ 301 h 892"/>
                <a:gd name="T76" fmla="*/ 1033 w 1740"/>
                <a:gd name="T77" fmla="*/ 364 h 892"/>
                <a:gd name="T78" fmla="*/ 1037 w 1740"/>
                <a:gd name="T79" fmla="*/ 447 h 892"/>
                <a:gd name="T80" fmla="*/ 1076 w 1740"/>
                <a:gd name="T81" fmla="*/ 513 h 892"/>
                <a:gd name="T82" fmla="*/ 1159 w 1740"/>
                <a:gd name="T83" fmla="*/ 564 h 892"/>
                <a:gd name="T84" fmla="*/ 1257 w 1740"/>
                <a:gd name="T85" fmla="*/ 570 h 892"/>
                <a:gd name="T86" fmla="*/ 1348 w 1740"/>
                <a:gd name="T87" fmla="*/ 527 h 892"/>
                <a:gd name="T88" fmla="*/ 1393 w 1740"/>
                <a:gd name="T89" fmla="*/ 470 h 892"/>
                <a:gd name="T90" fmla="*/ 1406 w 1740"/>
                <a:gd name="T91" fmla="*/ 386 h 892"/>
                <a:gd name="T92" fmla="*/ 1378 w 1740"/>
                <a:gd name="T93" fmla="*/ 310 h 892"/>
                <a:gd name="T94" fmla="*/ 1350 w 1740"/>
                <a:gd name="T95" fmla="*/ 270 h 892"/>
                <a:gd name="T96" fmla="*/ 1400 w 1740"/>
                <a:gd name="T97" fmla="*/ 234 h 892"/>
                <a:gd name="T98" fmla="*/ 1468 w 1740"/>
                <a:gd name="T99" fmla="*/ 228 h 892"/>
                <a:gd name="T100" fmla="*/ 1530 w 1740"/>
                <a:gd name="T101" fmla="*/ 261 h 892"/>
                <a:gd name="T102" fmla="*/ 1602 w 1740"/>
                <a:gd name="T103" fmla="*/ 232 h 892"/>
                <a:gd name="T104" fmla="*/ 1696 w 1740"/>
                <a:gd name="T105" fmla="*/ 181 h 892"/>
                <a:gd name="T106" fmla="*/ 1458 w 1740"/>
                <a:gd name="T107" fmla="*/ 812 h 892"/>
                <a:gd name="T108" fmla="*/ 1432 w 1740"/>
                <a:gd name="T109" fmla="*/ 892 h 892"/>
                <a:gd name="T110" fmla="*/ 946 w 1740"/>
                <a:gd name="T111" fmla="*/ 861 h 892"/>
                <a:gd name="T112" fmla="*/ 313 w 1740"/>
                <a:gd name="T113" fmla="*/ 892 h 892"/>
                <a:gd name="T114" fmla="*/ 280 w 1740"/>
                <a:gd name="T115" fmla="*/ 816 h 892"/>
                <a:gd name="T116" fmla="*/ 457 w 1740"/>
                <a:gd name="T117" fmla="*/ 790 h 892"/>
                <a:gd name="T118" fmla="*/ 914 w 1740"/>
                <a:gd name="T119" fmla="*/ 772 h 892"/>
                <a:gd name="T120" fmla="*/ 1449 w 1740"/>
                <a:gd name="T121" fmla="*/ 806 h 8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40" h="892">
                  <a:moveTo>
                    <a:pt x="1729" y="178"/>
                  </a:moveTo>
                  <a:lnTo>
                    <a:pt x="1734" y="179"/>
                  </a:lnTo>
                  <a:lnTo>
                    <a:pt x="1735" y="180"/>
                  </a:lnTo>
                  <a:lnTo>
                    <a:pt x="1737" y="181"/>
                  </a:lnTo>
                  <a:lnTo>
                    <a:pt x="1738" y="182"/>
                  </a:lnTo>
                  <a:lnTo>
                    <a:pt x="1739" y="184"/>
                  </a:lnTo>
                  <a:lnTo>
                    <a:pt x="1740" y="186"/>
                  </a:lnTo>
                  <a:lnTo>
                    <a:pt x="1740" y="188"/>
                  </a:lnTo>
                  <a:lnTo>
                    <a:pt x="1740" y="192"/>
                  </a:lnTo>
                  <a:lnTo>
                    <a:pt x="1738" y="194"/>
                  </a:lnTo>
                  <a:lnTo>
                    <a:pt x="1718" y="230"/>
                  </a:lnTo>
                  <a:lnTo>
                    <a:pt x="1698" y="266"/>
                  </a:lnTo>
                  <a:lnTo>
                    <a:pt x="1678" y="302"/>
                  </a:lnTo>
                  <a:lnTo>
                    <a:pt x="1659" y="338"/>
                  </a:lnTo>
                  <a:lnTo>
                    <a:pt x="1641" y="375"/>
                  </a:lnTo>
                  <a:lnTo>
                    <a:pt x="1624" y="411"/>
                  </a:lnTo>
                  <a:lnTo>
                    <a:pt x="1607" y="447"/>
                  </a:lnTo>
                  <a:lnTo>
                    <a:pt x="1591" y="483"/>
                  </a:lnTo>
                  <a:lnTo>
                    <a:pt x="1561" y="552"/>
                  </a:lnTo>
                  <a:lnTo>
                    <a:pt x="1534" y="618"/>
                  </a:lnTo>
                  <a:lnTo>
                    <a:pt x="1510" y="680"/>
                  </a:lnTo>
                  <a:lnTo>
                    <a:pt x="1489" y="736"/>
                  </a:lnTo>
                  <a:lnTo>
                    <a:pt x="1488" y="739"/>
                  </a:lnTo>
                  <a:lnTo>
                    <a:pt x="1485" y="741"/>
                  </a:lnTo>
                  <a:lnTo>
                    <a:pt x="1482" y="743"/>
                  </a:lnTo>
                  <a:lnTo>
                    <a:pt x="1479" y="743"/>
                  </a:lnTo>
                  <a:lnTo>
                    <a:pt x="1457" y="741"/>
                  </a:lnTo>
                  <a:lnTo>
                    <a:pt x="1412" y="736"/>
                  </a:lnTo>
                  <a:lnTo>
                    <a:pt x="1385" y="733"/>
                  </a:lnTo>
                  <a:lnTo>
                    <a:pt x="1356" y="730"/>
                  </a:lnTo>
                  <a:lnTo>
                    <a:pt x="1324" y="727"/>
                  </a:lnTo>
                  <a:lnTo>
                    <a:pt x="1289" y="724"/>
                  </a:lnTo>
                  <a:lnTo>
                    <a:pt x="1214" y="718"/>
                  </a:lnTo>
                  <a:lnTo>
                    <a:pt x="1133" y="713"/>
                  </a:lnTo>
                  <a:lnTo>
                    <a:pt x="1090" y="711"/>
                  </a:lnTo>
                  <a:lnTo>
                    <a:pt x="1047" y="709"/>
                  </a:lnTo>
                  <a:lnTo>
                    <a:pt x="1003" y="708"/>
                  </a:lnTo>
                  <a:lnTo>
                    <a:pt x="959" y="707"/>
                  </a:lnTo>
                  <a:lnTo>
                    <a:pt x="915" y="706"/>
                  </a:lnTo>
                  <a:lnTo>
                    <a:pt x="871" y="706"/>
                  </a:lnTo>
                  <a:lnTo>
                    <a:pt x="826" y="706"/>
                  </a:lnTo>
                  <a:lnTo>
                    <a:pt x="782" y="707"/>
                  </a:lnTo>
                  <a:lnTo>
                    <a:pt x="738" y="708"/>
                  </a:lnTo>
                  <a:lnTo>
                    <a:pt x="693" y="709"/>
                  </a:lnTo>
                  <a:lnTo>
                    <a:pt x="607" y="713"/>
                  </a:lnTo>
                  <a:lnTo>
                    <a:pt x="526" y="718"/>
                  </a:lnTo>
                  <a:lnTo>
                    <a:pt x="488" y="721"/>
                  </a:lnTo>
                  <a:lnTo>
                    <a:pt x="451" y="724"/>
                  </a:lnTo>
                  <a:lnTo>
                    <a:pt x="384" y="730"/>
                  </a:lnTo>
                  <a:lnTo>
                    <a:pt x="328" y="736"/>
                  </a:lnTo>
                  <a:lnTo>
                    <a:pt x="284" y="741"/>
                  </a:lnTo>
                  <a:lnTo>
                    <a:pt x="263" y="743"/>
                  </a:lnTo>
                  <a:lnTo>
                    <a:pt x="259" y="743"/>
                  </a:lnTo>
                  <a:lnTo>
                    <a:pt x="257" y="742"/>
                  </a:lnTo>
                  <a:lnTo>
                    <a:pt x="255" y="741"/>
                  </a:lnTo>
                  <a:lnTo>
                    <a:pt x="254" y="740"/>
                  </a:lnTo>
                  <a:lnTo>
                    <a:pt x="253" y="739"/>
                  </a:lnTo>
                  <a:lnTo>
                    <a:pt x="251" y="736"/>
                  </a:lnTo>
                  <a:lnTo>
                    <a:pt x="230" y="680"/>
                  </a:lnTo>
                  <a:lnTo>
                    <a:pt x="206" y="618"/>
                  </a:lnTo>
                  <a:lnTo>
                    <a:pt x="179" y="552"/>
                  </a:lnTo>
                  <a:lnTo>
                    <a:pt x="164" y="518"/>
                  </a:lnTo>
                  <a:lnTo>
                    <a:pt x="149" y="483"/>
                  </a:lnTo>
                  <a:lnTo>
                    <a:pt x="116" y="411"/>
                  </a:lnTo>
                  <a:lnTo>
                    <a:pt x="99" y="374"/>
                  </a:lnTo>
                  <a:lnTo>
                    <a:pt x="81" y="338"/>
                  </a:lnTo>
                  <a:lnTo>
                    <a:pt x="62" y="302"/>
                  </a:lnTo>
                  <a:lnTo>
                    <a:pt x="42" y="266"/>
                  </a:lnTo>
                  <a:lnTo>
                    <a:pt x="22" y="230"/>
                  </a:lnTo>
                  <a:lnTo>
                    <a:pt x="2" y="194"/>
                  </a:lnTo>
                  <a:lnTo>
                    <a:pt x="1" y="191"/>
                  </a:lnTo>
                  <a:lnTo>
                    <a:pt x="0" y="189"/>
                  </a:lnTo>
                  <a:lnTo>
                    <a:pt x="0" y="186"/>
                  </a:lnTo>
                  <a:lnTo>
                    <a:pt x="2" y="183"/>
                  </a:lnTo>
                  <a:lnTo>
                    <a:pt x="3" y="181"/>
                  </a:lnTo>
                  <a:lnTo>
                    <a:pt x="6" y="179"/>
                  </a:lnTo>
                  <a:lnTo>
                    <a:pt x="8" y="178"/>
                  </a:lnTo>
                  <a:lnTo>
                    <a:pt x="11" y="178"/>
                  </a:lnTo>
                  <a:lnTo>
                    <a:pt x="19" y="178"/>
                  </a:lnTo>
                  <a:lnTo>
                    <a:pt x="28" y="179"/>
                  </a:lnTo>
                  <a:lnTo>
                    <a:pt x="36" y="180"/>
                  </a:lnTo>
                  <a:lnTo>
                    <a:pt x="44" y="181"/>
                  </a:lnTo>
                  <a:lnTo>
                    <a:pt x="52" y="183"/>
                  </a:lnTo>
                  <a:lnTo>
                    <a:pt x="59" y="186"/>
                  </a:lnTo>
                  <a:lnTo>
                    <a:pt x="74" y="191"/>
                  </a:lnTo>
                  <a:lnTo>
                    <a:pt x="82" y="194"/>
                  </a:lnTo>
                  <a:lnTo>
                    <a:pt x="89" y="198"/>
                  </a:lnTo>
                  <a:lnTo>
                    <a:pt x="102" y="205"/>
                  </a:lnTo>
                  <a:lnTo>
                    <a:pt x="115" y="214"/>
                  </a:lnTo>
                  <a:lnTo>
                    <a:pt x="121" y="218"/>
                  </a:lnTo>
                  <a:lnTo>
                    <a:pt x="127" y="223"/>
                  </a:lnTo>
                  <a:lnTo>
                    <a:pt x="133" y="227"/>
                  </a:lnTo>
                  <a:lnTo>
                    <a:pt x="138" y="232"/>
                  </a:lnTo>
                  <a:lnTo>
                    <a:pt x="149" y="241"/>
                  </a:lnTo>
                  <a:lnTo>
                    <a:pt x="167" y="259"/>
                  </a:lnTo>
                  <a:lnTo>
                    <a:pt x="174" y="267"/>
                  </a:lnTo>
                  <a:lnTo>
                    <a:pt x="181" y="275"/>
                  </a:lnTo>
                  <a:lnTo>
                    <a:pt x="190" y="287"/>
                  </a:lnTo>
                  <a:lnTo>
                    <a:pt x="194" y="280"/>
                  </a:lnTo>
                  <a:lnTo>
                    <a:pt x="199" y="273"/>
                  </a:lnTo>
                  <a:lnTo>
                    <a:pt x="204" y="267"/>
                  </a:lnTo>
                  <a:lnTo>
                    <a:pt x="210" y="261"/>
                  </a:lnTo>
                  <a:lnTo>
                    <a:pt x="216" y="256"/>
                  </a:lnTo>
                  <a:lnTo>
                    <a:pt x="222" y="251"/>
                  </a:lnTo>
                  <a:lnTo>
                    <a:pt x="228" y="246"/>
                  </a:lnTo>
                  <a:lnTo>
                    <a:pt x="235" y="242"/>
                  </a:lnTo>
                  <a:lnTo>
                    <a:pt x="242" y="238"/>
                  </a:lnTo>
                  <a:lnTo>
                    <a:pt x="249" y="235"/>
                  </a:lnTo>
                  <a:lnTo>
                    <a:pt x="264" y="230"/>
                  </a:lnTo>
                  <a:lnTo>
                    <a:pt x="272" y="228"/>
                  </a:lnTo>
                  <a:lnTo>
                    <a:pt x="280" y="227"/>
                  </a:lnTo>
                  <a:lnTo>
                    <a:pt x="288" y="226"/>
                  </a:lnTo>
                  <a:lnTo>
                    <a:pt x="296" y="226"/>
                  </a:lnTo>
                  <a:lnTo>
                    <a:pt x="309" y="226"/>
                  </a:lnTo>
                  <a:lnTo>
                    <a:pt x="316" y="227"/>
                  </a:lnTo>
                  <a:lnTo>
                    <a:pt x="322" y="228"/>
                  </a:lnTo>
                  <a:lnTo>
                    <a:pt x="335" y="232"/>
                  </a:lnTo>
                  <a:lnTo>
                    <a:pt x="346" y="236"/>
                  </a:lnTo>
                  <a:lnTo>
                    <a:pt x="358" y="242"/>
                  </a:lnTo>
                  <a:lnTo>
                    <a:pt x="368" y="249"/>
                  </a:lnTo>
                  <a:lnTo>
                    <a:pt x="374" y="253"/>
                  </a:lnTo>
                  <a:lnTo>
                    <a:pt x="378" y="257"/>
                  </a:lnTo>
                  <a:lnTo>
                    <a:pt x="388" y="266"/>
                  </a:lnTo>
                  <a:lnTo>
                    <a:pt x="389" y="268"/>
                  </a:lnTo>
                  <a:lnTo>
                    <a:pt x="390" y="270"/>
                  </a:lnTo>
                  <a:lnTo>
                    <a:pt x="390" y="272"/>
                  </a:lnTo>
                  <a:lnTo>
                    <a:pt x="390" y="274"/>
                  </a:lnTo>
                  <a:lnTo>
                    <a:pt x="390" y="276"/>
                  </a:lnTo>
                  <a:lnTo>
                    <a:pt x="389" y="278"/>
                  </a:lnTo>
                  <a:lnTo>
                    <a:pt x="388" y="280"/>
                  </a:lnTo>
                  <a:lnTo>
                    <a:pt x="387" y="281"/>
                  </a:lnTo>
                  <a:lnTo>
                    <a:pt x="380" y="288"/>
                  </a:lnTo>
                  <a:lnTo>
                    <a:pt x="374" y="295"/>
                  </a:lnTo>
                  <a:lnTo>
                    <a:pt x="368" y="303"/>
                  </a:lnTo>
                  <a:lnTo>
                    <a:pt x="362" y="310"/>
                  </a:lnTo>
                  <a:lnTo>
                    <a:pt x="357" y="318"/>
                  </a:lnTo>
                  <a:lnTo>
                    <a:pt x="353" y="326"/>
                  </a:lnTo>
                  <a:lnTo>
                    <a:pt x="349" y="334"/>
                  </a:lnTo>
                  <a:lnTo>
                    <a:pt x="345" y="342"/>
                  </a:lnTo>
                  <a:lnTo>
                    <a:pt x="342" y="351"/>
                  </a:lnTo>
                  <a:lnTo>
                    <a:pt x="339" y="360"/>
                  </a:lnTo>
                  <a:lnTo>
                    <a:pt x="337" y="368"/>
                  </a:lnTo>
                  <a:lnTo>
                    <a:pt x="335" y="377"/>
                  </a:lnTo>
                  <a:lnTo>
                    <a:pt x="334" y="386"/>
                  </a:lnTo>
                  <a:lnTo>
                    <a:pt x="333" y="395"/>
                  </a:lnTo>
                  <a:lnTo>
                    <a:pt x="333" y="404"/>
                  </a:lnTo>
                  <a:lnTo>
                    <a:pt x="333" y="414"/>
                  </a:lnTo>
                  <a:lnTo>
                    <a:pt x="334" y="422"/>
                  </a:lnTo>
                  <a:lnTo>
                    <a:pt x="335" y="430"/>
                  </a:lnTo>
                  <a:lnTo>
                    <a:pt x="337" y="438"/>
                  </a:lnTo>
                  <a:lnTo>
                    <a:pt x="339" y="446"/>
                  </a:lnTo>
                  <a:lnTo>
                    <a:pt x="342" y="454"/>
                  </a:lnTo>
                  <a:lnTo>
                    <a:pt x="344" y="462"/>
                  </a:lnTo>
                  <a:lnTo>
                    <a:pt x="348" y="470"/>
                  </a:lnTo>
                  <a:lnTo>
                    <a:pt x="351" y="477"/>
                  </a:lnTo>
                  <a:lnTo>
                    <a:pt x="355" y="484"/>
                  </a:lnTo>
                  <a:lnTo>
                    <a:pt x="360" y="491"/>
                  </a:lnTo>
                  <a:lnTo>
                    <a:pt x="369" y="504"/>
                  </a:lnTo>
                  <a:lnTo>
                    <a:pt x="380" y="516"/>
                  </a:lnTo>
                  <a:lnTo>
                    <a:pt x="386" y="522"/>
                  </a:lnTo>
                  <a:lnTo>
                    <a:pt x="392" y="527"/>
                  </a:lnTo>
                  <a:lnTo>
                    <a:pt x="405" y="538"/>
                  </a:lnTo>
                  <a:lnTo>
                    <a:pt x="412" y="542"/>
                  </a:lnTo>
                  <a:lnTo>
                    <a:pt x="419" y="547"/>
                  </a:lnTo>
                  <a:lnTo>
                    <a:pt x="434" y="555"/>
                  </a:lnTo>
                  <a:lnTo>
                    <a:pt x="442" y="558"/>
                  </a:lnTo>
                  <a:lnTo>
                    <a:pt x="450" y="561"/>
                  </a:lnTo>
                  <a:lnTo>
                    <a:pt x="466" y="566"/>
                  </a:lnTo>
                  <a:lnTo>
                    <a:pt x="475" y="569"/>
                  </a:lnTo>
                  <a:lnTo>
                    <a:pt x="484" y="570"/>
                  </a:lnTo>
                  <a:lnTo>
                    <a:pt x="492" y="572"/>
                  </a:lnTo>
                  <a:lnTo>
                    <a:pt x="501" y="573"/>
                  </a:lnTo>
                  <a:lnTo>
                    <a:pt x="519" y="573"/>
                  </a:lnTo>
                  <a:lnTo>
                    <a:pt x="534" y="573"/>
                  </a:lnTo>
                  <a:lnTo>
                    <a:pt x="544" y="572"/>
                  </a:lnTo>
                  <a:lnTo>
                    <a:pt x="553" y="571"/>
                  </a:lnTo>
                  <a:lnTo>
                    <a:pt x="563" y="569"/>
                  </a:lnTo>
                  <a:lnTo>
                    <a:pt x="572" y="567"/>
                  </a:lnTo>
                  <a:lnTo>
                    <a:pt x="581" y="564"/>
                  </a:lnTo>
                  <a:lnTo>
                    <a:pt x="590" y="561"/>
                  </a:lnTo>
                  <a:lnTo>
                    <a:pt x="598" y="558"/>
                  </a:lnTo>
                  <a:lnTo>
                    <a:pt x="607" y="554"/>
                  </a:lnTo>
                  <a:lnTo>
                    <a:pt x="615" y="550"/>
                  </a:lnTo>
                  <a:lnTo>
                    <a:pt x="623" y="546"/>
                  </a:lnTo>
                  <a:lnTo>
                    <a:pt x="630" y="541"/>
                  </a:lnTo>
                  <a:lnTo>
                    <a:pt x="637" y="536"/>
                  </a:lnTo>
                  <a:lnTo>
                    <a:pt x="645" y="531"/>
                  </a:lnTo>
                  <a:lnTo>
                    <a:pt x="651" y="525"/>
                  </a:lnTo>
                  <a:lnTo>
                    <a:pt x="658" y="519"/>
                  </a:lnTo>
                  <a:lnTo>
                    <a:pt x="664" y="513"/>
                  </a:lnTo>
                  <a:lnTo>
                    <a:pt x="670" y="507"/>
                  </a:lnTo>
                  <a:lnTo>
                    <a:pt x="675" y="500"/>
                  </a:lnTo>
                  <a:lnTo>
                    <a:pt x="685" y="486"/>
                  </a:lnTo>
                  <a:lnTo>
                    <a:pt x="690" y="479"/>
                  </a:lnTo>
                  <a:lnTo>
                    <a:pt x="694" y="471"/>
                  </a:lnTo>
                  <a:lnTo>
                    <a:pt x="701" y="455"/>
                  </a:lnTo>
                  <a:lnTo>
                    <a:pt x="703" y="447"/>
                  </a:lnTo>
                  <a:lnTo>
                    <a:pt x="706" y="439"/>
                  </a:lnTo>
                  <a:lnTo>
                    <a:pt x="708" y="430"/>
                  </a:lnTo>
                  <a:lnTo>
                    <a:pt x="709" y="422"/>
                  </a:lnTo>
                  <a:lnTo>
                    <a:pt x="710" y="413"/>
                  </a:lnTo>
                  <a:lnTo>
                    <a:pt x="711" y="405"/>
                  </a:lnTo>
                  <a:lnTo>
                    <a:pt x="711" y="396"/>
                  </a:lnTo>
                  <a:lnTo>
                    <a:pt x="711" y="387"/>
                  </a:lnTo>
                  <a:lnTo>
                    <a:pt x="709" y="375"/>
                  </a:lnTo>
                  <a:lnTo>
                    <a:pt x="707" y="364"/>
                  </a:lnTo>
                  <a:lnTo>
                    <a:pt x="704" y="352"/>
                  </a:lnTo>
                  <a:lnTo>
                    <a:pt x="701" y="341"/>
                  </a:lnTo>
                  <a:lnTo>
                    <a:pt x="696" y="331"/>
                  </a:lnTo>
                  <a:lnTo>
                    <a:pt x="691" y="320"/>
                  </a:lnTo>
                  <a:lnTo>
                    <a:pt x="685" y="310"/>
                  </a:lnTo>
                  <a:lnTo>
                    <a:pt x="678" y="301"/>
                  </a:lnTo>
                  <a:lnTo>
                    <a:pt x="674" y="296"/>
                  </a:lnTo>
                  <a:lnTo>
                    <a:pt x="670" y="292"/>
                  </a:lnTo>
                  <a:lnTo>
                    <a:pt x="662" y="283"/>
                  </a:lnTo>
                  <a:lnTo>
                    <a:pt x="653" y="275"/>
                  </a:lnTo>
                  <a:lnTo>
                    <a:pt x="649" y="271"/>
                  </a:lnTo>
                  <a:lnTo>
                    <a:pt x="644" y="267"/>
                  </a:lnTo>
                  <a:lnTo>
                    <a:pt x="634" y="260"/>
                  </a:lnTo>
                  <a:lnTo>
                    <a:pt x="624" y="254"/>
                  </a:lnTo>
                  <a:lnTo>
                    <a:pt x="612" y="248"/>
                  </a:lnTo>
                  <a:lnTo>
                    <a:pt x="601" y="243"/>
                  </a:lnTo>
                  <a:lnTo>
                    <a:pt x="599" y="242"/>
                  </a:lnTo>
                  <a:lnTo>
                    <a:pt x="597" y="240"/>
                  </a:lnTo>
                  <a:lnTo>
                    <a:pt x="596" y="239"/>
                  </a:lnTo>
                  <a:lnTo>
                    <a:pt x="595" y="237"/>
                  </a:lnTo>
                  <a:lnTo>
                    <a:pt x="594" y="234"/>
                  </a:lnTo>
                  <a:lnTo>
                    <a:pt x="594" y="232"/>
                  </a:lnTo>
                  <a:lnTo>
                    <a:pt x="595" y="230"/>
                  </a:lnTo>
                  <a:lnTo>
                    <a:pt x="595" y="228"/>
                  </a:lnTo>
                  <a:lnTo>
                    <a:pt x="600" y="221"/>
                  </a:lnTo>
                  <a:lnTo>
                    <a:pt x="604" y="214"/>
                  </a:lnTo>
                  <a:lnTo>
                    <a:pt x="610" y="207"/>
                  </a:lnTo>
                  <a:lnTo>
                    <a:pt x="615" y="201"/>
                  </a:lnTo>
                  <a:lnTo>
                    <a:pt x="621" y="196"/>
                  </a:lnTo>
                  <a:lnTo>
                    <a:pt x="627" y="190"/>
                  </a:lnTo>
                  <a:lnTo>
                    <a:pt x="634" y="186"/>
                  </a:lnTo>
                  <a:lnTo>
                    <a:pt x="641" y="181"/>
                  </a:lnTo>
                  <a:lnTo>
                    <a:pt x="648" y="177"/>
                  </a:lnTo>
                  <a:lnTo>
                    <a:pt x="655" y="174"/>
                  </a:lnTo>
                  <a:lnTo>
                    <a:pt x="663" y="171"/>
                  </a:lnTo>
                  <a:lnTo>
                    <a:pt x="670" y="169"/>
                  </a:lnTo>
                  <a:lnTo>
                    <a:pt x="678" y="167"/>
                  </a:lnTo>
                  <a:lnTo>
                    <a:pt x="686" y="165"/>
                  </a:lnTo>
                  <a:lnTo>
                    <a:pt x="695" y="164"/>
                  </a:lnTo>
                  <a:lnTo>
                    <a:pt x="703" y="164"/>
                  </a:lnTo>
                  <a:lnTo>
                    <a:pt x="713" y="165"/>
                  </a:lnTo>
                  <a:lnTo>
                    <a:pt x="722" y="166"/>
                  </a:lnTo>
                  <a:lnTo>
                    <a:pt x="733" y="168"/>
                  </a:lnTo>
                  <a:lnTo>
                    <a:pt x="742" y="170"/>
                  </a:lnTo>
                  <a:lnTo>
                    <a:pt x="751" y="174"/>
                  </a:lnTo>
                  <a:lnTo>
                    <a:pt x="760" y="178"/>
                  </a:lnTo>
                  <a:lnTo>
                    <a:pt x="768" y="182"/>
                  </a:lnTo>
                  <a:lnTo>
                    <a:pt x="776" y="188"/>
                  </a:lnTo>
                  <a:lnTo>
                    <a:pt x="777" y="173"/>
                  </a:lnTo>
                  <a:lnTo>
                    <a:pt x="778" y="163"/>
                  </a:lnTo>
                  <a:lnTo>
                    <a:pt x="779" y="152"/>
                  </a:lnTo>
                  <a:lnTo>
                    <a:pt x="781" y="140"/>
                  </a:lnTo>
                  <a:lnTo>
                    <a:pt x="783" y="127"/>
                  </a:lnTo>
                  <a:lnTo>
                    <a:pt x="786" y="114"/>
                  </a:lnTo>
                  <a:lnTo>
                    <a:pt x="790" y="100"/>
                  </a:lnTo>
                  <a:lnTo>
                    <a:pt x="795" y="86"/>
                  </a:lnTo>
                  <a:lnTo>
                    <a:pt x="798" y="79"/>
                  </a:lnTo>
                  <a:lnTo>
                    <a:pt x="801" y="72"/>
                  </a:lnTo>
                  <a:lnTo>
                    <a:pt x="805" y="66"/>
                  </a:lnTo>
                  <a:lnTo>
                    <a:pt x="808" y="59"/>
                  </a:lnTo>
                  <a:lnTo>
                    <a:pt x="812" y="52"/>
                  </a:lnTo>
                  <a:lnTo>
                    <a:pt x="815" y="49"/>
                  </a:lnTo>
                  <a:lnTo>
                    <a:pt x="817" y="46"/>
                  </a:lnTo>
                  <a:lnTo>
                    <a:pt x="822" y="39"/>
                  </a:lnTo>
                  <a:lnTo>
                    <a:pt x="827" y="33"/>
                  </a:lnTo>
                  <a:lnTo>
                    <a:pt x="832" y="27"/>
                  </a:lnTo>
                  <a:lnTo>
                    <a:pt x="838" y="21"/>
                  </a:lnTo>
                  <a:lnTo>
                    <a:pt x="844" y="16"/>
                  </a:lnTo>
                  <a:lnTo>
                    <a:pt x="851" y="11"/>
                  </a:lnTo>
                  <a:lnTo>
                    <a:pt x="858" y="6"/>
                  </a:lnTo>
                  <a:lnTo>
                    <a:pt x="865" y="1"/>
                  </a:lnTo>
                  <a:lnTo>
                    <a:pt x="868" y="0"/>
                  </a:lnTo>
                  <a:lnTo>
                    <a:pt x="871" y="0"/>
                  </a:lnTo>
                  <a:lnTo>
                    <a:pt x="873" y="0"/>
                  </a:lnTo>
                  <a:lnTo>
                    <a:pt x="876" y="1"/>
                  </a:lnTo>
                  <a:lnTo>
                    <a:pt x="883" y="6"/>
                  </a:lnTo>
                  <a:lnTo>
                    <a:pt x="891" y="11"/>
                  </a:lnTo>
                  <a:lnTo>
                    <a:pt x="897" y="16"/>
                  </a:lnTo>
                  <a:lnTo>
                    <a:pt x="903" y="21"/>
                  </a:lnTo>
                  <a:lnTo>
                    <a:pt x="909" y="27"/>
                  </a:lnTo>
                  <a:lnTo>
                    <a:pt x="915" y="33"/>
                  </a:lnTo>
                  <a:lnTo>
                    <a:pt x="920" y="39"/>
                  </a:lnTo>
                  <a:lnTo>
                    <a:pt x="924" y="46"/>
                  </a:lnTo>
                  <a:lnTo>
                    <a:pt x="933" y="59"/>
                  </a:lnTo>
                  <a:lnTo>
                    <a:pt x="940" y="72"/>
                  </a:lnTo>
                  <a:lnTo>
                    <a:pt x="946" y="86"/>
                  </a:lnTo>
                  <a:lnTo>
                    <a:pt x="951" y="100"/>
                  </a:lnTo>
                  <a:lnTo>
                    <a:pt x="955" y="114"/>
                  </a:lnTo>
                  <a:lnTo>
                    <a:pt x="958" y="127"/>
                  </a:lnTo>
                  <a:lnTo>
                    <a:pt x="961" y="140"/>
                  </a:lnTo>
                  <a:lnTo>
                    <a:pt x="962" y="152"/>
                  </a:lnTo>
                  <a:lnTo>
                    <a:pt x="964" y="173"/>
                  </a:lnTo>
                  <a:lnTo>
                    <a:pt x="965" y="188"/>
                  </a:lnTo>
                  <a:lnTo>
                    <a:pt x="973" y="182"/>
                  </a:lnTo>
                  <a:lnTo>
                    <a:pt x="981" y="178"/>
                  </a:lnTo>
                  <a:lnTo>
                    <a:pt x="990" y="174"/>
                  </a:lnTo>
                  <a:lnTo>
                    <a:pt x="999" y="170"/>
                  </a:lnTo>
                  <a:lnTo>
                    <a:pt x="1008" y="168"/>
                  </a:lnTo>
                  <a:lnTo>
                    <a:pt x="1018" y="166"/>
                  </a:lnTo>
                  <a:lnTo>
                    <a:pt x="1027" y="165"/>
                  </a:lnTo>
                  <a:lnTo>
                    <a:pt x="1037" y="164"/>
                  </a:lnTo>
                  <a:lnTo>
                    <a:pt x="1046" y="164"/>
                  </a:lnTo>
                  <a:lnTo>
                    <a:pt x="1054" y="165"/>
                  </a:lnTo>
                  <a:lnTo>
                    <a:pt x="1058" y="166"/>
                  </a:lnTo>
                  <a:lnTo>
                    <a:pt x="1062" y="167"/>
                  </a:lnTo>
                  <a:lnTo>
                    <a:pt x="1070" y="169"/>
                  </a:lnTo>
                  <a:lnTo>
                    <a:pt x="1078" y="171"/>
                  </a:lnTo>
                  <a:lnTo>
                    <a:pt x="1085" y="174"/>
                  </a:lnTo>
                  <a:lnTo>
                    <a:pt x="1093" y="177"/>
                  </a:lnTo>
                  <a:lnTo>
                    <a:pt x="1100" y="181"/>
                  </a:lnTo>
                  <a:lnTo>
                    <a:pt x="1107" y="186"/>
                  </a:lnTo>
                  <a:lnTo>
                    <a:pt x="1113" y="190"/>
                  </a:lnTo>
                  <a:lnTo>
                    <a:pt x="1119" y="196"/>
                  </a:lnTo>
                  <a:lnTo>
                    <a:pt x="1125" y="201"/>
                  </a:lnTo>
                  <a:lnTo>
                    <a:pt x="1131" y="207"/>
                  </a:lnTo>
                  <a:lnTo>
                    <a:pt x="1136" y="214"/>
                  </a:lnTo>
                  <a:lnTo>
                    <a:pt x="1141" y="221"/>
                  </a:lnTo>
                  <a:lnTo>
                    <a:pt x="1145" y="228"/>
                  </a:lnTo>
                  <a:lnTo>
                    <a:pt x="1146" y="230"/>
                  </a:lnTo>
                  <a:lnTo>
                    <a:pt x="1146" y="232"/>
                  </a:lnTo>
                  <a:lnTo>
                    <a:pt x="1146" y="234"/>
                  </a:lnTo>
                  <a:lnTo>
                    <a:pt x="1146" y="237"/>
                  </a:lnTo>
                  <a:lnTo>
                    <a:pt x="1145" y="239"/>
                  </a:lnTo>
                  <a:lnTo>
                    <a:pt x="1143" y="240"/>
                  </a:lnTo>
                  <a:lnTo>
                    <a:pt x="1141" y="242"/>
                  </a:lnTo>
                  <a:lnTo>
                    <a:pt x="1139" y="243"/>
                  </a:lnTo>
                  <a:lnTo>
                    <a:pt x="1134" y="245"/>
                  </a:lnTo>
                  <a:lnTo>
                    <a:pt x="1128" y="248"/>
                  </a:lnTo>
                  <a:lnTo>
                    <a:pt x="1117" y="254"/>
                  </a:lnTo>
                  <a:lnTo>
                    <a:pt x="1106" y="260"/>
                  </a:lnTo>
                  <a:lnTo>
                    <a:pt x="1096" y="267"/>
                  </a:lnTo>
                  <a:lnTo>
                    <a:pt x="1087" y="275"/>
                  </a:lnTo>
                  <a:lnTo>
                    <a:pt x="1082" y="279"/>
                  </a:lnTo>
                  <a:lnTo>
                    <a:pt x="1078" y="283"/>
                  </a:lnTo>
                  <a:lnTo>
                    <a:pt x="1070" y="292"/>
                  </a:lnTo>
                  <a:lnTo>
                    <a:pt x="1062" y="301"/>
                  </a:lnTo>
                  <a:lnTo>
                    <a:pt x="1056" y="310"/>
                  </a:lnTo>
                  <a:lnTo>
                    <a:pt x="1053" y="315"/>
                  </a:lnTo>
                  <a:lnTo>
                    <a:pt x="1050" y="320"/>
                  </a:lnTo>
                  <a:lnTo>
                    <a:pt x="1044" y="331"/>
                  </a:lnTo>
                  <a:lnTo>
                    <a:pt x="1042" y="336"/>
                  </a:lnTo>
                  <a:lnTo>
                    <a:pt x="1040" y="341"/>
                  </a:lnTo>
                  <a:lnTo>
                    <a:pt x="1038" y="347"/>
                  </a:lnTo>
                  <a:lnTo>
                    <a:pt x="1036" y="352"/>
                  </a:lnTo>
                  <a:lnTo>
                    <a:pt x="1033" y="364"/>
                  </a:lnTo>
                  <a:lnTo>
                    <a:pt x="1031" y="375"/>
                  </a:lnTo>
                  <a:lnTo>
                    <a:pt x="1030" y="387"/>
                  </a:lnTo>
                  <a:lnTo>
                    <a:pt x="1029" y="396"/>
                  </a:lnTo>
                  <a:lnTo>
                    <a:pt x="1029" y="405"/>
                  </a:lnTo>
                  <a:lnTo>
                    <a:pt x="1030" y="413"/>
                  </a:lnTo>
                  <a:lnTo>
                    <a:pt x="1031" y="422"/>
                  </a:lnTo>
                  <a:lnTo>
                    <a:pt x="1032" y="430"/>
                  </a:lnTo>
                  <a:lnTo>
                    <a:pt x="1034" y="439"/>
                  </a:lnTo>
                  <a:lnTo>
                    <a:pt x="1037" y="447"/>
                  </a:lnTo>
                  <a:lnTo>
                    <a:pt x="1040" y="455"/>
                  </a:lnTo>
                  <a:lnTo>
                    <a:pt x="1043" y="464"/>
                  </a:lnTo>
                  <a:lnTo>
                    <a:pt x="1047" y="471"/>
                  </a:lnTo>
                  <a:lnTo>
                    <a:pt x="1051" y="479"/>
                  </a:lnTo>
                  <a:lnTo>
                    <a:pt x="1055" y="486"/>
                  </a:lnTo>
                  <a:lnTo>
                    <a:pt x="1060" y="493"/>
                  </a:lnTo>
                  <a:lnTo>
                    <a:pt x="1065" y="500"/>
                  </a:lnTo>
                  <a:lnTo>
                    <a:pt x="1070" y="507"/>
                  </a:lnTo>
                  <a:lnTo>
                    <a:pt x="1076" y="513"/>
                  </a:lnTo>
                  <a:lnTo>
                    <a:pt x="1082" y="519"/>
                  </a:lnTo>
                  <a:lnTo>
                    <a:pt x="1089" y="525"/>
                  </a:lnTo>
                  <a:lnTo>
                    <a:pt x="1103" y="536"/>
                  </a:lnTo>
                  <a:lnTo>
                    <a:pt x="1110" y="541"/>
                  </a:lnTo>
                  <a:lnTo>
                    <a:pt x="1118" y="546"/>
                  </a:lnTo>
                  <a:lnTo>
                    <a:pt x="1134" y="554"/>
                  </a:lnTo>
                  <a:lnTo>
                    <a:pt x="1142" y="558"/>
                  </a:lnTo>
                  <a:lnTo>
                    <a:pt x="1151" y="561"/>
                  </a:lnTo>
                  <a:lnTo>
                    <a:pt x="1159" y="564"/>
                  </a:lnTo>
                  <a:lnTo>
                    <a:pt x="1168" y="567"/>
                  </a:lnTo>
                  <a:lnTo>
                    <a:pt x="1178" y="569"/>
                  </a:lnTo>
                  <a:lnTo>
                    <a:pt x="1187" y="571"/>
                  </a:lnTo>
                  <a:lnTo>
                    <a:pt x="1196" y="572"/>
                  </a:lnTo>
                  <a:lnTo>
                    <a:pt x="1206" y="573"/>
                  </a:lnTo>
                  <a:lnTo>
                    <a:pt x="1221" y="573"/>
                  </a:lnTo>
                  <a:lnTo>
                    <a:pt x="1239" y="573"/>
                  </a:lnTo>
                  <a:lnTo>
                    <a:pt x="1248" y="572"/>
                  </a:lnTo>
                  <a:lnTo>
                    <a:pt x="1257" y="570"/>
                  </a:lnTo>
                  <a:lnTo>
                    <a:pt x="1274" y="566"/>
                  </a:lnTo>
                  <a:lnTo>
                    <a:pt x="1290" y="561"/>
                  </a:lnTo>
                  <a:lnTo>
                    <a:pt x="1306" y="555"/>
                  </a:lnTo>
                  <a:lnTo>
                    <a:pt x="1314" y="551"/>
                  </a:lnTo>
                  <a:lnTo>
                    <a:pt x="1321" y="547"/>
                  </a:lnTo>
                  <a:lnTo>
                    <a:pt x="1328" y="542"/>
                  </a:lnTo>
                  <a:lnTo>
                    <a:pt x="1335" y="538"/>
                  </a:lnTo>
                  <a:lnTo>
                    <a:pt x="1342" y="533"/>
                  </a:lnTo>
                  <a:lnTo>
                    <a:pt x="1348" y="527"/>
                  </a:lnTo>
                  <a:lnTo>
                    <a:pt x="1354" y="522"/>
                  </a:lnTo>
                  <a:lnTo>
                    <a:pt x="1360" y="516"/>
                  </a:lnTo>
                  <a:lnTo>
                    <a:pt x="1366" y="510"/>
                  </a:lnTo>
                  <a:lnTo>
                    <a:pt x="1371" y="504"/>
                  </a:lnTo>
                  <a:lnTo>
                    <a:pt x="1376" y="498"/>
                  </a:lnTo>
                  <a:lnTo>
                    <a:pt x="1381" y="491"/>
                  </a:lnTo>
                  <a:lnTo>
                    <a:pt x="1385" y="484"/>
                  </a:lnTo>
                  <a:lnTo>
                    <a:pt x="1389" y="477"/>
                  </a:lnTo>
                  <a:lnTo>
                    <a:pt x="1393" y="470"/>
                  </a:lnTo>
                  <a:lnTo>
                    <a:pt x="1396" y="462"/>
                  </a:lnTo>
                  <a:lnTo>
                    <a:pt x="1401" y="446"/>
                  </a:lnTo>
                  <a:lnTo>
                    <a:pt x="1403" y="438"/>
                  </a:lnTo>
                  <a:lnTo>
                    <a:pt x="1405" y="430"/>
                  </a:lnTo>
                  <a:lnTo>
                    <a:pt x="1406" y="422"/>
                  </a:lnTo>
                  <a:lnTo>
                    <a:pt x="1407" y="414"/>
                  </a:lnTo>
                  <a:lnTo>
                    <a:pt x="1407" y="404"/>
                  </a:lnTo>
                  <a:lnTo>
                    <a:pt x="1407" y="395"/>
                  </a:lnTo>
                  <a:lnTo>
                    <a:pt x="1406" y="386"/>
                  </a:lnTo>
                  <a:lnTo>
                    <a:pt x="1405" y="377"/>
                  </a:lnTo>
                  <a:lnTo>
                    <a:pt x="1404" y="368"/>
                  </a:lnTo>
                  <a:lnTo>
                    <a:pt x="1401" y="360"/>
                  </a:lnTo>
                  <a:lnTo>
                    <a:pt x="1399" y="351"/>
                  </a:lnTo>
                  <a:lnTo>
                    <a:pt x="1395" y="342"/>
                  </a:lnTo>
                  <a:lnTo>
                    <a:pt x="1392" y="334"/>
                  </a:lnTo>
                  <a:lnTo>
                    <a:pt x="1388" y="326"/>
                  </a:lnTo>
                  <a:lnTo>
                    <a:pt x="1383" y="318"/>
                  </a:lnTo>
                  <a:lnTo>
                    <a:pt x="1378" y="310"/>
                  </a:lnTo>
                  <a:lnTo>
                    <a:pt x="1372" y="303"/>
                  </a:lnTo>
                  <a:lnTo>
                    <a:pt x="1366" y="295"/>
                  </a:lnTo>
                  <a:lnTo>
                    <a:pt x="1360" y="288"/>
                  </a:lnTo>
                  <a:lnTo>
                    <a:pt x="1353" y="281"/>
                  </a:lnTo>
                  <a:lnTo>
                    <a:pt x="1352" y="280"/>
                  </a:lnTo>
                  <a:lnTo>
                    <a:pt x="1351" y="278"/>
                  </a:lnTo>
                  <a:lnTo>
                    <a:pt x="1350" y="276"/>
                  </a:lnTo>
                  <a:lnTo>
                    <a:pt x="1350" y="274"/>
                  </a:lnTo>
                  <a:lnTo>
                    <a:pt x="1350" y="270"/>
                  </a:lnTo>
                  <a:lnTo>
                    <a:pt x="1353" y="266"/>
                  </a:lnTo>
                  <a:lnTo>
                    <a:pt x="1357" y="262"/>
                  </a:lnTo>
                  <a:lnTo>
                    <a:pt x="1362" y="257"/>
                  </a:lnTo>
                  <a:lnTo>
                    <a:pt x="1367" y="253"/>
                  </a:lnTo>
                  <a:lnTo>
                    <a:pt x="1372" y="249"/>
                  </a:lnTo>
                  <a:lnTo>
                    <a:pt x="1383" y="242"/>
                  </a:lnTo>
                  <a:lnTo>
                    <a:pt x="1388" y="239"/>
                  </a:lnTo>
                  <a:lnTo>
                    <a:pt x="1394" y="236"/>
                  </a:lnTo>
                  <a:lnTo>
                    <a:pt x="1400" y="234"/>
                  </a:lnTo>
                  <a:lnTo>
                    <a:pt x="1406" y="232"/>
                  </a:lnTo>
                  <a:lnTo>
                    <a:pt x="1412" y="230"/>
                  </a:lnTo>
                  <a:lnTo>
                    <a:pt x="1418" y="228"/>
                  </a:lnTo>
                  <a:lnTo>
                    <a:pt x="1424" y="227"/>
                  </a:lnTo>
                  <a:lnTo>
                    <a:pt x="1431" y="226"/>
                  </a:lnTo>
                  <a:lnTo>
                    <a:pt x="1444" y="226"/>
                  </a:lnTo>
                  <a:lnTo>
                    <a:pt x="1452" y="226"/>
                  </a:lnTo>
                  <a:lnTo>
                    <a:pt x="1460" y="227"/>
                  </a:lnTo>
                  <a:lnTo>
                    <a:pt x="1468" y="228"/>
                  </a:lnTo>
                  <a:lnTo>
                    <a:pt x="1476" y="230"/>
                  </a:lnTo>
                  <a:lnTo>
                    <a:pt x="1483" y="232"/>
                  </a:lnTo>
                  <a:lnTo>
                    <a:pt x="1491" y="235"/>
                  </a:lnTo>
                  <a:lnTo>
                    <a:pt x="1498" y="238"/>
                  </a:lnTo>
                  <a:lnTo>
                    <a:pt x="1505" y="242"/>
                  </a:lnTo>
                  <a:lnTo>
                    <a:pt x="1512" y="246"/>
                  </a:lnTo>
                  <a:lnTo>
                    <a:pt x="1518" y="251"/>
                  </a:lnTo>
                  <a:lnTo>
                    <a:pt x="1525" y="256"/>
                  </a:lnTo>
                  <a:lnTo>
                    <a:pt x="1530" y="261"/>
                  </a:lnTo>
                  <a:lnTo>
                    <a:pt x="1536" y="267"/>
                  </a:lnTo>
                  <a:lnTo>
                    <a:pt x="1541" y="273"/>
                  </a:lnTo>
                  <a:lnTo>
                    <a:pt x="1546" y="280"/>
                  </a:lnTo>
                  <a:lnTo>
                    <a:pt x="1550" y="287"/>
                  </a:lnTo>
                  <a:lnTo>
                    <a:pt x="1560" y="275"/>
                  </a:lnTo>
                  <a:lnTo>
                    <a:pt x="1574" y="259"/>
                  </a:lnTo>
                  <a:lnTo>
                    <a:pt x="1582" y="250"/>
                  </a:lnTo>
                  <a:lnTo>
                    <a:pt x="1591" y="241"/>
                  </a:lnTo>
                  <a:lnTo>
                    <a:pt x="1602" y="232"/>
                  </a:lnTo>
                  <a:lnTo>
                    <a:pt x="1613" y="223"/>
                  </a:lnTo>
                  <a:lnTo>
                    <a:pt x="1625" y="214"/>
                  </a:lnTo>
                  <a:lnTo>
                    <a:pt x="1638" y="205"/>
                  </a:lnTo>
                  <a:lnTo>
                    <a:pt x="1651" y="198"/>
                  </a:lnTo>
                  <a:lnTo>
                    <a:pt x="1666" y="191"/>
                  </a:lnTo>
                  <a:lnTo>
                    <a:pt x="1673" y="188"/>
                  </a:lnTo>
                  <a:lnTo>
                    <a:pt x="1681" y="186"/>
                  </a:lnTo>
                  <a:lnTo>
                    <a:pt x="1688" y="183"/>
                  </a:lnTo>
                  <a:lnTo>
                    <a:pt x="1696" y="181"/>
                  </a:lnTo>
                  <a:lnTo>
                    <a:pt x="1704" y="180"/>
                  </a:lnTo>
                  <a:lnTo>
                    <a:pt x="1712" y="179"/>
                  </a:lnTo>
                  <a:lnTo>
                    <a:pt x="1720" y="178"/>
                  </a:lnTo>
                  <a:lnTo>
                    <a:pt x="1729" y="178"/>
                  </a:lnTo>
                  <a:close/>
                  <a:moveTo>
                    <a:pt x="1450" y="807"/>
                  </a:moveTo>
                  <a:lnTo>
                    <a:pt x="1453" y="807"/>
                  </a:lnTo>
                  <a:lnTo>
                    <a:pt x="1455" y="808"/>
                  </a:lnTo>
                  <a:lnTo>
                    <a:pt x="1457" y="810"/>
                  </a:lnTo>
                  <a:lnTo>
                    <a:pt x="1458" y="812"/>
                  </a:lnTo>
                  <a:lnTo>
                    <a:pt x="1459" y="814"/>
                  </a:lnTo>
                  <a:lnTo>
                    <a:pt x="1460" y="816"/>
                  </a:lnTo>
                  <a:lnTo>
                    <a:pt x="1460" y="819"/>
                  </a:lnTo>
                  <a:lnTo>
                    <a:pt x="1459" y="821"/>
                  </a:lnTo>
                  <a:lnTo>
                    <a:pt x="1439" y="885"/>
                  </a:lnTo>
                  <a:lnTo>
                    <a:pt x="1438" y="886"/>
                  </a:lnTo>
                  <a:lnTo>
                    <a:pt x="1437" y="888"/>
                  </a:lnTo>
                  <a:lnTo>
                    <a:pt x="1435" y="890"/>
                  </a:lnTo>
                  <a:lnTo>
                    <a:pt x="1432" y="892"/>
                  </a:lnTo>
                  <a:lnTo>
                    <a:pt x="1428" y="892"/>
                  </a:lnTo>
                  <a:lnTo>
                    <a:pt x="1374" y="887"/>
                  </a:lnTo>
                  <a:lnTo>
                    <a:pt x="1313" y="881"/>
                  </a:lnTo>
                  <a:lnTo>
                    <a:pt x="1245" y="876"/>
                  </a:lnTo>
                  <a:lnTo>
                    <a:pt x="1174" y="871"/>
                  </a:lnTo>
                  <a:lnTo>
                    <a:pt x="1099" y="867"/>
                  </a:lnTo>
                  <a:lnTo>
                    <a:pt x="1023" y="863"/>
                  </a:lnTo>
                  <a:lnTo>
                    <a:pt x="984" y="862"/>
                  </a:lnTo>
                  <a:lnTo>
                    <a:pt x="946" y="861"/>
                  </a:lnTo>
                  <a:lnTo>
                    <a:pt x="871" y="861"/>
                  </a:lnTo>
                  <a:lnTo>
                    <a:pt x="795" y="861"/>
                  </a:lnTo>
                  <a:lnTo>
                    <a:pt x="718" y="863"/>
                  </a:lnTo>
                  <a:lnTo>
                    <a:pt x="641" y="867"/>
                  </a:lnTo>
                  <a:lnTo>
                    <a:pt x="567" y="871"/>
                  </a:lnTo>
                  <a:lnTo>
                    <a:pt x="495" y="876"/>
                  </a:lnTo>
                  <a:lnTo>
                    <a:pt x="428" y="881"/>
                  </a:lnTo>
                  <a:lnTo>
                    <a:pt x="367" y="887"/>
                  </a:lnTo>
                  <a:lnTo>
                    <a:pt x="313" y="892"/>
                  </a:lnTo>
                  <a:lnTo>
                    <a:pt x="309" y="892"/>
                  </a:lnTo>
                  <a:lnTo>
                    <a:pt x="307" y="891"/>
                  </a:lnTo>
                  <a:lnTo>
                    <a:pt x="306" y="890"/>
                  </a:lnTo>
                  <a:lnTo>
                    <a:pt x="303" y="888"/>
                  </a:lnTo>
                  <a:lnTo>
                    <a:pt x="302" y="885"/>
                  </a:lnTo>
                  <a:lnTo>
                    <a:pt x="292" y="854"/>
                  </a:lnTo>
                  <a:lnTo>
                    <a:pt x="281" y="821"/>
                  </a:lnTo>
                  <a:lnTo>
                    <a:pt x="280" y="819"/>
                  </a:lnTo>
                  <a:lnTo>
                    <a:pt x="280" y="816"/>
                  </a:lnTo>
                  <a:lnTo>
                    <a:pt x="282" y="812"/>
                  </a:lnTo>
                  <a:lnTo>
                    <a:pt x="283" y="810"/>
                  </a:lnTo>
                  <a:lnTo>
                    <a:pt x="285" y="808"/>
                  </a:lnTo>
                  <a:lnTo>
                    <a:pt x="287" y="807"/>
                  </a:lnTo>
                  <a:lnTo>
                    <a:pt x="290" y="807"/>
                  </a:lnTo>
                  <a:lnTo>
                    <a:pt x="292" y="806"/>
                  </a:lnTo>
                  <a:lnTo>
                    <a:pt x="335" y="802"/>
                  </a:lnTo>
                  <a:lnTo>
                    <a:pt x="391" y="796"/>
                  </a:lnTo>
                  <a:lnTo>
                    <a:pt x="457" y="790"/>
                  </a:lnTo>
                  <a:lnTo>
                    <a:pt x="531" y="785"/>
                  </a:lnTo>
                  <a:lnTo>
                    <a:pt x="611" y="780"/>
                  </a:lnTo>
                  <a:lnTo>
                    <a:pt x="653" y="778"/>
                  </a:lnTo>
                  <a:lnTo>
                    <a:pt x="696" y="776"/>
                  </a:lnTo>
                  <a:lnTo>
                    <a:pt x="740" y="774"/>
                  </a:lnTo>
                  <a:lnTo>
                    <a:pt x="783" y="773"/>
                  </a:lnTo>
                  <a:lnTo>
                    <a:pt x="827" y="772"/>
                  </a:lnTo>
                  <a:lnTo>
                    <a:pt x="871" y="772"/>
                  </a:lnTo>
                  <a:lnTo>
                    <a:pt x="914" y="772"/>
                  </a:lnTo>
                  <a:lnTo>
                    <a:pt x="958" y="773"/>
                  </a:lnTo>
                  <a:lnTo>
                    <a:pt x="1001" y="774"/>
                  </a:lnTo>
                  <a:lnTo>
                    <a:pt x="1045" y="776"/>
                  </a:lnTo>
                  <a:lnTo>
                    <a:pt x="1129" y="780"/>
                  </a:lnTo>
                  <a:lnTo>
                    <a:pt x="1209" y="785"/>
                  </a:lnTo>
                  <a:lnTo>
                    <a:pt x="1283" y="790"/>
                  </a:lnTo>
                  <a:lnTo>
                    <a:pt x="1349" y="796"/>
                  </a:lnTo>
                  <a:lnTo>
                    <a:pt x="1405" y="802"/>
                  </a:lnTo>
                  <a:lnTo>
                    <a:pt x="1449" y="806"/>
                  </a:lnTo>
                  <a:lnTo>
                    <a:pt x="1450" y="807"/>
                  </a:lnTo>
                  <a:close/>
                </a:path>
              </a:pathLst>
            </a:custGeom>
            <a:solidFill>
              <a:srgbClr val="FD9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auto">
            <a:xfrm>
              <a:off x="4287838" y="2951163"/>
              <a:ext cx="6440488" cy="1217612"/>
            </a:xfrm>
            <a:custGeom>
              <a:avLst/>
              <a:gdLst>
                <a:gd name="T0" fmla="*/ 3533 w 4057"/>
                <a:gd name="T1" fmla="*/ 11 h 767"/>
                <a:gd name="T2" fmla="*/ 3620 w 4057"/>
                <a:gd name="T3" fmla="*/ 37 h 767"/>
                <a:gd name="T4" fmla="*/ 4033 w 4057"/>
                <a:gd name="T5" fmla="*/ 15 h 767"/>
                <a:gd name="T6" fmla="*/ 4055 w 4057"/>
                <a:gd name="T7" fmla="*/ 724 h 767"/>
                <a:gd name="T8" fmla="*/ 4042 w 4057"/>
                <a:gd name="T9" fmla="*/ 755 h 767"/>
                <a:gd name="T10" fmla="*/ 3620 w 4057"/>
                <a:gd name="T11" fmla="*/ 736 h 767"/>
                <a:gd name="T12" fmla="*/ 3528 w 4057"/>
                <a:gd name="T13" fmla="*/ 756 h 767"/>
                <a:gd name="T14" fmla="*/ 330 w 4057"/>
                <a:gd name="T15" fmla="*/ 10 h 767"/>
                <a:gd name="T16" fmla="*/ 367 w 4057"/>
                <a:gd name="T17" fmla="*/ 4 h 767"/>
                <a:gd name="T18" fmla="*/ 693 w 4057"/>
                <a:gd name="T19" fmla="*/ 754 h 767"/>
                <a:gd name="T20" fmla="*/ 593 w 4057"/>
                <a:gd name="T21" fmla="*/ 744 h 767"/>
                <a:gd name="T22" fmla="*/ 21 w 4057"/>
                <a:gd name="T23" fmla="*/ 757 h 767"/>
                <a:gd name="T24" fmla="*/ 2 w 4057"/>
                <a:gd name="T25" fmla="*/ 729 h 767"/>
                <a:gd name="T26" fmla="*/ 827 w 4057"/>
                <a:gd name="T27" fmla="*/ 13 h 767"/>
                <a:gd name="T28" fmla="*/ 1180 w 4057"/>
                <a:gd name="T29" fmla="*/ 34 h 767"/>
                <a:gd name="T30" fmla="*/ 1281 w 4057"/>
                <a:gd name="T31" fmla="*/ 125 h 767"/>
                <a:gd name="T32" fmla="*/ 1315 w 4057"/>
                <a:gd name="T33" fmla="*/ 258 h 767"/>
                <a:gd name="T34" fmla="*/ 1268 w 4057"/>
                <a:gd name="T35" fmla="*/ 390 h 767"/>
                <a:gd name="T36" fmla="*/ 1159 w 4057"/>
                <a:gd name="T37" fmla="*/ 472 h 767"/>
                <a:gd name="T38" fmla="*/ 920 w 4057"/>
                <a:gd name="T39" fmla="*/ 747 h 767"/>
                <a:gd name="T40" fmla="*/ 816 w 4057"/>
                <a:gd name="T41" fmla="*/ 744 h 767"/>
                <a:gd name="T42" fmla="*/ 1135 w 4057"/>
                <a:gd name="T43" fmla="*/ 366 h 767"/>
                <a:gd name="T44" fmla="*/ 1203 w 4057"/>
                <a:gd name="T45" fmla="*/ 273 h 767"/>
                <a:gd name="T46" fmla="*/ 1189 w 4057"/>
                <a:gd name="T47" fmla="*/ 183 h 767"/>
                <a:gd name="T48" fmla="*/ 1098 w 4057"/>
                <a:gd name="T49" fmla="*/ 120 h 767"/>
                <a:gd name="T50" fmla="*/ 1899 w 4057"/>
                <a:gd name="T51" fmla="*/ 15 h 767"/>
                <a:gd name="T52" fmla="*/ 2058 w 4057"/>
                <a:gd name="T53" fmla="*/ 106 h 767"/>
                <a:gd name="T54" fmla="*/ 2153 w 4057"/>
                <a:gd name="T55" fmla="*/ 252 h 767"/>
                <a:gd name="T56" fmla="*/ 2169 w 4057"/>
                <a:gd name="T57" fmla="*/ 463 h 767"/>
                <a:gd name="T58" fmla="*/ 2089 w 4057"/>
                <a:gd name="T59" fmla="*/ 629 h 767"/>
                <a:gd name="T60" fmla="*/ 1960 w 4057"/>
                <a:gd name="T61" fmla="*/ 730 h 767"/>
                <a:gd name="T62" fmla="*/ 1773 w 4057"/>
                <a:gd name="T63" fmla="*/ 767 h 767"/>
                <a:gd name="T64" fmla="*/ 1578 w 4057"/>
                <a:gd name="T65" fmla="*/ 702 h 767"/>
                <a:gd name="T66" fmla="*/ 1466 w 4057"/>
                <a:gd name="T67" fmla="*/ 584 h 767"/>
                <a:gd name="T68" fmla="*/ 1411 w 4057"/>
                <a:gd name="T69" fmla="*/ 405 h 767"/>
                <a:gd name="T70" fmla="*/ 1448 w 4057"/>
                <a:gd name="T71" fmla="*/ 218 h 767"/>
                <a:gd name="T72" fmla="*/ 1563 w 4057"/>
                <a:gd name="T73" fmla="*/ 76 h 767"/>
                <a:gd name="T74" fmla="*/ 1725 w 4057"/>
                <a:gd name="T75" fmla="*/ 6 h 767"/>
                <a:gd name="T76" fmla="*/ 1888 w 4057"/>
                <a:gd name="T77" fmla="*/ 644 h 767"/>
                <a:gd name="T78" fmla="*/ 2007 w 4057"/>
                <a:gd name="T79" fmla="*/ 561 h 767"/>
                <a:gd name="T80" fmla="*/ 2069 w 4057"/>
                <a:gd name="T81" fmla="*/ 413 h 767"/>
                <a:gd name="T82" fmla="*/ 2037 w 4057"/>
                <a:gd name="T83" fmla="*/ 253 h 767"/>
                <a:gd name="T84" fmla="*/ 1925 w 4057"/>
                <a:gd name="T85" fmla="*/ 141 h 767"/>
                <a:gd name="T86" fmla="*/ 1765 w 4057"/>
                <a:gd name="T87" fmla="*/ 108 h 767"/>
                <a:gd name="T88" fmla="*/ 1618 w 4057"/>
                <a:gd name="T89" fmla="*/ 171 h 767"/>
                <a:gd name="T90" fmla="*/ 1530 w 4057"/>
                <a:gd name="T91" fmla="*/ 304 h 767"/>
                <a:gd name="T92" fmla="*/ 1530 w 4057"/>
                <a:gd name="T93" fmla="*/ 467 h 767"/>
                <a:gd name="T94" fmla="*/ 1618 w 4057"/>
                <a:gd name="T95" fmla="*/ 598 h 767"/>
                <a:gd name="T96" fmla="*/ 1765 w 4057"/>
                <a:gd name="T97" fmla="*/ 659 h 767"/>
                <a:gd name="T98" fmla="*/ 2214 w 4057"/>
                <a:gd name="T99" fmla="*/ 91 h 767"/>
                <a:gd name="T100" fmla="*/ 2736 w 4057"/>
                <a:gd name="T101" fmla="*/ 13 h 767"/>
                <a:gd name="T102" fmla="*/ 2739 w 4057"/>
                <a:gd name="T103" fmla="*/ 107 h 767"/>
                <a:gd name="T104" fmla="*/ 2520 w 4057"/>
                <a:gd name="T105" fmla="*/ 756 h 767"/>
                <a:gd name="T106" fmla="*/ 2885 w 4057"/>
                <a:gd name="T107" fmla="*/ 31 h 767"/>
                <a:gd name="T108" fmla="*/ 3343 w 4057"/>
                <a:gd name="T109" fmla="*/ 15 h 767"/>
                <a:gd name="T110" fmla="*/ 3340 w 4057"/>
                <a:gd name="T111" fmla="*/ 109 h 767"/>
                <a:gd name="T112" fmla="*/ 3298 w 4057"/>
                <a:gd name="T113" fmla="*/ 345 h 767"/>
                <a:gd name="T114" fmla="*/ 2994 w 4057"/>
                <a:gd name="T115" fmla="*/ 658 h 767"/>
                <a:gd name="T116" fmla="*/ 3350 w 4057"/>
                <a:gd name="T117" fmla="*/ 744 h 767"/>
                <a:gd name="T118" fmla="*/ 2888 w 4057"/>
                <a:gd name="T119" fmla="*/ 747 h 7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057" h="767">
                  <a:moveTo>
                    <a:pt x="3508" y="37"/>
                  </a:moveTo>
                  <a:lnTo>
                    <a:pt x="3508" y="31"/>
                  </a:lnTo>
                  <a:lnTo>
                    <a:pt x="3509" y="29"/>
                  </a:lnTo>
                  <a:lnTo>
                    <a:pt x="3509" y="27"/>
                  </a:lnTo>
                  <a:lnTo>
                    <a:pt x="3510" y="25"/>
                  </a:lnTo>
                  <a:lnTo>
                    <a:pt x="3512" y="22"/>
                  </a:lnTo>
                  <a:lnTo>
                    <a:pt x="3515" y="19"/>
                  </a:lnTo>
                  <a:lnTo>
                    <a:pt x="3518" y="15"/>
                  </a:lnTo>
                  <a:lnTo>
                    <a:pt x="3523" y="13"/>
                  </a:lnTo>
                  <a:lnTo>
                    <a:pt x="3525" y="12"/>
                  </a:lnTo>
                  <a:lnTo>
                    <a:pt x="3528" y="12"/>
                  </a:lnTo>
                  <a:lnTo>
                    <a:pt x="3533" y="11"/>
                  </a:lnTo>
                  <a:lnTo>
                    <a:pt x="3595" y="11"/>
                  </a:lnTo>
                  <a:lnTo>
                    <a:pt x="3600" y="12"/>
                  </a:lnTo>
                  <a:lnTo>
                    <a:pt x="3602" y="12"/>
                  </a:lnTo>
                  <a:lnTo>
                    <a:pt x="3605" y="13"/>
                  </a:lnTo>
                  <a:lnTo>
                    <a:pt x="3609" y="15"/>
                  </a:lnTo>
                  <a:lnTo>
                    <a:pt x="3611" y="17"/>
                  </a:lnTo>
                  <a:lnTo>
                    <a:pt x="3613" y="19"/>
                  </a:lnTo>
                  <a:lnTo>
                    <a:pt x="3616" y="22"/>
                  </a:lnTo>
                  <a:lnTo>
                    <a:pt x="3618" y="27"/>
                  </a:lnTo>
                  <a:lnTo>
                    <a:pt x="3619" y="29"/>
                  </a:lnTo>
                  <a:lnTo>
                    <a:pt x="3620" y="31"/>
                  </a:lnTo>
                  <a:lnTo>
                    <a:pt x="3620" y="37"/>
                  </a:lnTo>
                  <a:lnTo>
                    <a:pt x="3620" y="332"/>
                  </a:lnTo>
                  <a:lnTo>
                    <a:pt x="3920" y="22"/>
                  </a:lnTo>
                  <a:lnTo>
                    <a:pt x="3924" y="18"/>
                  </a:lnTo>
                  <a:lnTo>
                    <a:pt x="3929" y="14"/>
                  </a:lnTo>
                  <a:lnTo>
                    <a:pt x="3934" y="12"/>
                  </a:lnTo>
                  <a:lnTo>
                    <a:pt x="3937" y="11"/>
                  </a:lnTo>
                  <a:lnTo>
                    <a:pt x="3940" y="11"/>
                  </a:lnTo>
                  <a:lnTo>
                    <a:pt x="4020" y="11"/>
                  </a:lnTo>
                  <a:lnTo>
                    <a:pt x="4024" y="11"/>
                  </a:lnTo>
                  <a:lnTo>
                    <a:pt x="4027" y="12"/>
                  </a:lnTo>
                  <a:lnTo>
                    <a:pt x="4030" y="13"/>
                  </a:lnTo>
                  <a:lnTo>
                    <a:pt x="4033" y="15"/>
                  </a:lnTo>
                  <a:lnTo>
                    <a:pt x="4035" y="17"/>
                  </a:lnTo>
                  <a:lnTo>
                    <a:pt x="4037" y="19"/>
                  </a:lnTo>
                  <a:lnTo>
                    <a:pt x="4040" y="24"/>
                  </a:lnTo>
                  <a:lnTo>
                    <a:pt x="4042" y="30"/>
                  </a:lnTo>
                  <a:lnTo>
                    <a:pt x="4042" y="33"/>
                  </a:lnTo>
                  <a:lnTo>
                    <a:pt x="4042" y="37"/>
                  </a:lnTo>
                  <a:lnTo>
                    <a:pt x="4039" y="43"/>
                  </a:lnTo>
                  <a:lnTo>
                    <a:pt x="4038" y="46"/>
                  </a:lnTo>
                  <a:lnTo>
                    <a:pt x="4035" y="49"/>
                  </a:lnTo>
                  <a:lnTo>
                    <a:pt x="3728" y="363"/>
                  </a:lnTo>
                  <a:lnTo>
                    <a:pt x="4053" y="721"/>
                  </a:lnTo>
                  <a:lnTo>
                    <a:pt x="4055" y="724"/>
                  </a:lnTo>
                  <a:lnTo>
                    <a:pt x="4056" y="726"/>
                  </a:lnTo>
                  <a:lnTo>
                    <a:pt x="4057" y="731"/>
                  </a:lnTo>
                  <a:lnTo>
                    <a:pt x="4057" y="734"/>
                  </a:lnTo>
                  <a:lnTo>
                    <a:pt x="4057" y="737"/>
                  </a:lnTo>
                  <a:lnTo>
                    <a:pt x="4056" y="740"/>
                  </a:lnTo>
                  <a:lnTo>
                    <a:pt x="4055" y="743"/>
                  </a:lnTo>
                  <a:lnTo>
                    <a:pt x="4054" y="746"/>
                  </a:lnTo>
                  <a:lnTo>
                    <a:pt x="4052" y="748"/>
                  </a:lnTo>
                  <a:lnTo>
                    <a:pt x="4050" y="750"/>
                  </a:lnTo>
                  <a:lnTo>
                    <a:pt x="4048" y="752"/>
                  </a:lnTo>
                  <a:lnTo>
                    <a:pt x="4045" y="754"/>
                  </a:lnTo>
                  <a:lnTo>
                    <a:pt x="4042" y="755"/>
                  </a:lnTo>
                  <a:lnTo>
                    <a:pt x="4038" y="756"/>
                  </a:lnTo>
                  <a:lnTo>
                    <a:pt x="4034" y="756"/>
                  </a:lnTo>
                  <a:lnTo>
                    <a:pt x="3949" y="756"/>
                  </a:lnTo>
                  <a:lnTo>
                    <a:pt x="3945" y="756"/>
                  </a:lnTo>
                  <a:lnTo>
                    <a:pt x="3942" y="756"/>
                  </a:lnTo>
                  <a:lnTo>
                    <a:pt x="3936" y="754"/>
                  </a:lnTo>
                  <a:lnTo>
                    <a:pt x="3934" y="753"/>
                  </a:lnTo>
                  <a:lnTo>
                    <a:pt x="3932" y="752"/>
                  </a:lnTo>
                  <a:lnTo>
                    <a:pt x="3930" y="749"/>
                  </a:lnTo>
                  <a:lnTo>
                    <a:pt x="3620" y="400"/>
                  </a:lnTo>
                  <a:lnTo>
                    <a:pt x="3620" y="731"/>
                  </a:lnTo>
                  <a:lnTo>
                    <a:pt x="3620" y="736"/>
                  </a:lnTo>
                  <a:lnTo>
                    <a:pt x="3619" y="738"/>
                  </a:lnTo>
                  <a:lnTo>
                    <a:pt x="3618" y="741"/>
                  </a:lnTo>
                  <a:lnTo>
                    <a:pt x="3616" y="745"/>
                  </a:lnTo>
                  <a:lnTo>
                    <a:pt x="3614" y="747"/>
                  </a:lnTo>
                  <a:lnTo>
                    <a:pt x="3613" y="749"/>
                  </a:lnTo>
                  <a:lnTo>
                    <a:pt x="3609" y="752"/>
                  </a:lnTo>
                  <a:lnTo>
                    <a:pt x="3605" y="754"/>
                  </a:lnTo>
                  <a:lnTo>
                    <a:pt x="3602" y="755"/>
                  </a:lnTo>
                  <a:lnTo>
                    <a:pt x="3600" y="756"/>
                  </a:lnTo>
                  <a:lnTo>
                    <a:pt x="3595" y="756"/>
                  </a:lnTo>
                  <a:lnTo>
                    <a:pt x="3533" y="756"/>
                  </a:lnTo>
                  <a:lnTo>
                    <a:pt x="3528" y="756"/>
                  </a:lnTo>
                  <a:lnTo>
                    <a:pt x="3523" y="754"/>
                  </a:lnTo>
                  <a:lnTo>
                    <a:pt x="3518" y="752"/>
                  </a:lnTo>
                  <a:lnTo>
                    <a:pt x="3515" y="749"/>
                  </a:lnTo>
                  <a:lnTo>
                    <a:pt x="3512" y="745"/>
                  </a:lnTo>
                  <a:lnTo>
                    <a:pt x="3510" y="743"/>
                  </a:lnTo>
                  <a:lnTo>
                    <a:pt x="3509" y="741"/>
                  </a:lnTo>
                  <a:lnTo>
                    <a:pt x="3508" y="736"/>
                  </a:lnTo>
                  <a:lnTo>
                    <a:pt x="3508" y="731"/>
                  </a:lnTo>
                  <a:lnTo>
                    <a:pt x="3508" y="37"/>
                  </a:lnTo>
                  <a:close/>
                  <a:moveTo>
                    <a:pt x="2" y="729"/>
                  </a:moveTo>
                  <a:lnTo>
                    <a:pt x="329" y="12"/>
                  </a:lnTo>
                  <a:lnTo>
                    <a:pt x="330" y="10"/>
                  </a:lnTo>
                  <a:lnTo>
                    <a:pt x="332" y="8"/>
                  </a:lnTo>
                  <a:lnTo>
                    <a:pt x="335" y="6"/>
                  </a:lnTo>
                  <a:lnTo>
                    <a:pt x="337" y="4"/>
                  </a:lnTo>
                  <a:lnTo>
                    <a:pt x="340" y="2"/>
                  </a:lnTo>
                  <a:lnTo>
                    <a:pt x="342" y="1"/>
                  </a:lnTo>
                  <a:lnTo>
                    <a:pt x="345" y="1"/>
                  </a:lnTo>
                  <a:lnTo>
                    <a:pt x="347" y="0"/>
                  </a:lnTo>
                  <a:lnTo>
                    <a:pt x="358" y="0"/>
                  </a:lnTo>
                  <a:lnTo>
                    <a:pt x="360" y="1"/>
                  </a:lnTo>
                  <a:lnTo>
                    <a:pt x="362" y="1"/>
                  </a:lnTo>
                  <a:lnTo>
                    <a:pt x="365" y="2"/>
                  </a:lnTo>
                  <a:lnTo>
                    <a:pt x="367" y="4"/>
                  </a:lnTo>
                  <a:lnTo>
                    <a:pt x="370" y="6"/>
                  </a:lnTo>
                  <a:lnTo>
                    <a:pt x="372" y="8"/>
                  </a:lnTo>
                  <a:lnTo>
                    <a:pt x="376" y="12"/>
                  </a:lnTo>
                  <a:lnTo>
                    <a:pt x="701" y="729"/>
                  </a:lnTo>
                  <a:lnTo>
                    <a:pt x="703" y="734"/>
                  </a:lnTo>
                  <a:lnTo>
                    <a:pt x="703" y="739"/>
                  </a:lnTo>
                  <a:lnTo>
                    <a:pt x="702" y="744"/>
                  </a:lnTo>
                  <a:lnTo>
                    <a:pt x="702" y="746"/>
                  </a:lnTo>
                  <a:lnTo>
                    <a:pt x="700" y="748"/>
                  </a:lnTo>
                  <a:lnTo>
                    <a:pt x="699" y="750"/>
                  </a:lnTo>
                  <a:lnTo>
                    <a:pt x="697" y="751"/>
                  </a:lnTo>
                  <a:lnTo>
                    <a:pt x="693" y="754"/>
                  </a:lnTo>
                  <a:lnTo>
                    <a:pt x="689" y="756"/>
                  </a:lnTo>
                  <a:lnTo>
                    <a:pt x="686" y="756"/>
                  </a:lnTo>
                  <a:lnTo>
                    <a:pt x="683" y="757"/>
                  </a:lnTo>
                  <a:lnTo>
                    <a:pt x="616" y="757"/>
                  </a:lnTo>
                  <a:lnTo>
                    <a:pt x="611" y="756"/>
                  </a:lnTo>
                  <a:lnTo>
                    <a:pt x="607" y="755"/>
                  </a:lnTo>
                  <a:lnTo>
                    <a:pt x="606" y="755"/>
                  </a:lnTo>
                  <a:lnTo>
                    <a:pt x="604" y="754"/>
                  </a:lnTo>
                  <a:lnTo>
                    <a:pt x="601" y="752"/>
                  </a:lnTo>
                  <a:lnTo>
                    <a:pt x="598" y="750"/>
                  </a:lnTo>
                  <a:lnTo>
                    <a:pt x="595" y="747"/>
                  </a:lnTo>
                  <a:lnTo>
                    <a:pt x="593" y="744"/>
                  </a:lnTo>
                  <a:lnTo>
                    <a:pt x="592" y="741"/>
                  </a:lnTo>
                  <a:lnTo>
                    <a:pt x="526" y="595"/>
                  </a:lnTo>
                  <a:lnTo>
                    <a:pt x="177" y="595"/>
                  </a:lnTo>
                  <a:lnTo>
                    <a:pt x="144" y="668"/>
                  </a:lnTo>
                  <a:lnTo>
                    <a:pt x="112" y="741"/>
                  </a:lnTo>
                  <a:lnTo>
                    <a:pt x="109" y="746"/>
                  </a:lnTo>
                  <a:lnTo>
                    <a:pt x="103" y="751"/>
                  </a:lnTo>
                  <a:lnTo>
                    <a:pt x="100" y="753"/>
                  </a:lnTo>
                  <a:lnTo>
                    <a:pt x="96" y="755"/>
                  </a:lnTo>
                  <a:lnTo>
                    <a:pt x="92" y="756"/>
                  </a:lnTo>
                  <a:lnTo>
                    <a:pt x="88" y="757"/>
                  </a:lnTo>
                  <a:lnTo>
                    <a:pt x="21" y="757"/>
                  </a:lnTo>
                  <a:lnTo>
                    <a:pt x="15" y="756"/>
                  </a:lnTo>
                  <a:lnTo>
                    <a:pt x="10" y="754"/>
                  </a:lnTo>
                  <a:lnTo>
                    <a:pt x="6" y="751"/>
                  </a:lnTo>
                  <a:lnTo>
                    <a:pt x="4" y="750"/>
                  </a:lnTo>
                  <a:lnTo>
                    <a:pt x="3" y="748"/>
                  </a:lnTo>
                  <a:lnTo>
                    <a:pt x="1" y="744"/>
                  </a:lnTo>
                  <a:lnTo>
                    <a:pt x="1" y="741"/>
                  </a:lnTo>
                  <a:lnTo>
                    <a:pt x="0" y="739"/>
                  </a:lnTo>
                  <a:lnTo>
                    <a:pt x="0" y="737"/>
                  </a:lnTo>
                  <a:lnTo>
                    <a:pt x="1" y="734"/>
                  </a:lnTo>
                  <a:lnTo>
                    <a:pt x="1" y="731"/>
                  </a:lnTo>
                  <a:lnTo>
                    <a:pt x="2" y="729"/>
                  </a:lnTo>
                  <a:close/>
                  <a:moveTo>
                    <a:pt x="485" y="503"/>
                  </a:moveTo>
                  <a:lnTo>
                    <a:pt x="353" y="211"/>
                  </a:lnTo>
                  <a:lnTo>
                    <a:pt x="348" y="211"/>
                  </a:lnTo>
                  <a:lnTo>
                    <a:pt x="218" y="503"/>
                  </a:lnTo>
                  <a:lnTo>
                    <a:pt x="485" y="503"/>
                  </a:lnTo>
                  <a:close/>
                  <a:moveTo>
                    <a:pt x="814" y="31"/>
                  </a:moveTo>
                  <a:lnTo>
                    <a:pt x="815" y="27"/>
                  </a:lnTo>
                  <a:lnTo>
                    <a:pt x="816" y="24"/>
                  </a:lnTo>
                  <a:lnTo>
                    <a:pt x="818" y="20"/>
                  </a:lnTo>
                  <a:lnTo>
                    <a:pt x="820" y="17"/>
                  </a:lnTo>
                  <a:lnTo>
                    <a:pt x="823" y="15"/>
                  </a:lnTo>
                  <a:lnTo>
                    <a:pt x="827" y="13"/>
                  </a:lnTo>
                  <a:lnTo>
                    <a:pt x="830" y="11"/>
                  </a:lnTo>
                  <a:lnTo>
                    <a:pt x="835" y="11"/>
                  </a:lnTo>
                  <a:lnTo>
                    <a:pt x="1077" y="11"/>
                  </a:lnTo>
                  <a:lnTo>
                    <a:pt x="1089" y="11"/>
                  </a:lnTo>
                  <a:lnTo>
                    <a:pt x="1101" y="12"/>
                  </a:lnTo>
                  <a:lnTo>
                    <a:pt x="1113" y="14"/>
                  </a:lnTo>
                  <a:lnTo>
                    <a:pt x="1125" y="16"/>
                  </a:lnTo>
                  <a:lnTo>
                    <a:pt x="1136" y="19"/>
                  </a:lnTo>
                  <a:lnTo>
                    <a:pt x="1148" y="22"/>
                  </a:lnTo>
                  <a:lnTo>
                    <a:pt x="1159" y="25"/>
                  </a:lnTo>
                  <a:lnTo>
                    <a:pt x="1170" y="30"/>
                  </a:lnTo>
                  <a:lnTo>
                    <a:pt x="1180" y="34"/>
                  </a:lnTo>
                  <a:lnTo>
                    <a:pt x="1190" y="40"/>
                  </a:lnTo>
                  <a:lnTo>
                    <a:pt x="1200" y="45"/>
                  </a:lnTo>
                  <a:lnTo>
                    <a:pt x="1210" y="51"/>
                  </a:lnTo>
                  <a:lnTo>
                    <a:pt x="1219" y="58"/>
                  </a:lnTo>
                  <a:lnTo>
                    <a:pt x="1228" y="65"/>
                  </a:lnTo>
                  <a:lnTo>
                    <a:pt x="1237" y="72"/>
                  </a:lnTo>
                  <a:lnTo>
                    <a:pt x="1245" y="80"/>
                  </a:lnTo>
                  <a:lnTo>
                    <a:pt x="1253" y="88"/>
                  </a:lnTo>
                  <a:lnTo>
                    <a:pt x="1261" y="97"/>
                  </a:lnTo>
                  <a:lnTo>
                    <a:pt x="1268" y="106"/>
                  </a:lnTo>
                  <a:lnTo>
                    <a:pt x="1275" y="115"/>
                  </a:lnTo>
                  <a:lnTo>
                    <a:pt x="1281" y="125"/>
                  </a:lnTo>
                  <a:lnTo>
                    <a:pt x="1286" y="135"/>
                  </a:lnTo>
                  <a:lnTo>
                    <a:pt x="1292" y="145"/>
                  </a:lnTo>
                  <a:lnTo>
                    <a:pt x="1297" y="155"/>
                  </a:lnTo>
                  <a:lnTo>
                    <a:pt x="1301" y="166"/>
                  </a:lnTo>
                  <a:lnTo>
                    <a:pt x="1305" y="177"/>
                  </a:lnTo>
                  <a:lnTo>
                    <a:pt x="1308" y="188"/>
                  </a:lnTo>
                  <a:lnTo>
                    <a:pt x="1311" y="199"/>
                  </a:lnTo>
                  <a:lnTo>
                    <a:pt x="1313" y="211"/>
                  </a:lnTo>
                  <a:lnTo>
                    <a:pt x="1314" y="222"/>
                  </a:lnTo>
                  <a:lnTo>
                    <a:pt x="1315" y="234"/>
                  </a:lnTo>
                  <a:lnTo>
                    <a:pt x="1315" y="246"/>
                  </a:lnTo>
                  <a:lnTo>
                    <a:pt x="1315" y="258"/>
                  </a:lnTo>
                  <a:lnTo>
                    <a:pt x="1314" y="270"/>
                  </a:lnTo>
                  <a:lnTo>
                    <a:pt x="1313" y="282"/>
                  </a:lnTo>
                  <a:lnTo>
                    <a:pt x="1311" y="294"/>
                  </a:lnTo>
                  <a:lnTo>
                    <a:pt x="1308" y="307"/>
                  </a:lnTo>
                  <a:lnTo>
                    <a:pt x="1305" y="318"/>
                  </a:lnTo>
                  <a:lnTo>
                    <a:pt x="1301" y="329"/>
                  </a:lnTo>
                  <a:lnTo>
                    <a:pt x="1297" y="340"/>
                  </a:lnTo>
                  <a:lnTo>
                    <a:pt x="1292" y="351"/>
                  </a:lnTo>
                  <a:lnTo>
                    <a:pt x="1287" y="361"/>
                  </a:lnTo>
                  <a:lnTo>
                    <a:pt x="1281" y="371"/>
                  </a:lnTo>
                  <a:lnTo>
                    <a:pt x="1275" y="381"/>
                  </a:lnTo>
                  <a:lnTo>
                    <a:pt x="1268" y="390"/>
                  </a:lnTo>
                  <a:lnTo>
                    <a:pt x="1261" y="399"/>
                  </a:lnTo>
                  <a:lnTo>
                    <a:pt x="1253" y="408"/>
                  </a:lnTo>
                  <a:lnTo>
                    <a:pt x="1245" y="416"/>
                  </a:lnTo>
                  <a:lnTo>
                    <a:pt x="1237" y="424"/>
                  </a:lnTo>
                  <a:lnTo>
                    <a:pt x="1229" y="432"/>
                  </a:lnTo>
                  <a:lnTo>
                    <a:pt x="1220" y="439"/>
                  </a:lnTo>
                  <a:lnTo>
                    <a:pt x="1210" y="445"/>
                  </a:lnTo>
                  <a:lnTo>
                    <a:pt x="1201" y="452"/>
                  </a:lnTo>
                  <a:lnTo>
                    <a:pt x="1191" y="457"/>
                  </a:lnTo>
                  <a:lnTo>
                    <a:pt x="1180" y="463"/>
                  </a:lnTo>
                  <a:lnTo>
                    <a:pt x="1170" y="468"/>
                  </a:lnTo>
                  <a:lnTo>
                    <a:pt x="1159" y="472"/>
                  </a:lnTo>
                  <a:lnTo>
                    <a:pt x="1148" y="476"/>
                  </a:lnTo>
                  <a:lnTo>
                    <a:pt x="1137" y="479"/>
                  </a:lnTo>
                  <a:lnTo>
                    <a:pt x="1126" y="481"/>
                  </a:lnTo>
                  <a:lnTo>
                    <a:pt x="1114" y="484"/>
                  </a:lnTo>
                  <a:lnTo>
                    <a:pt x="1102" y="485"/>
                  </a:lnTo>
                  <a:lnTo>
                    <a:pt x="1090" y="486"/>
                  </a:lnTo>
                  <a:lnTo>
                    <a:pt x="1078" y="486"/>
                  </a:lnTo>
                  <a:lnTo>
                    <a:pt x="924" y="486"/>
                  </a:lnTo>
                  <a:lnTo>
                    <a:pt x="924" y="736"/>
                  </a:lnTo>
                  <a:lnTo>
                    <a:pt x="924" y="740"/>
                  </a:lnTo>
                  <a:lnTo>
                    <a:pt x="922" y="744"/>
                  </a:lnTo>
                  <a:lnTo>
                    <a:pt x="920" y="747"/>
                  </a:lnTo>
                  <a:lnTo>
                    <a:pt x="918" y="750"/>
                  </a:lnTo>
                  <a:lnTo>
                    <a:pt x="915" y="753"/>
                  </a:lnTo>
                  <a:lnTo>
                    <a:pt x="911" y="755"/>
                  </a:lnTo>
                  <a:lnTo>
                    <a:pt x="908" y="756"/>
                  </a:lnTo>
                  <a:lnTo>
                    <a:pt x="904" y="756"/>
                  </a:lnTo>
                  <a:lnTo>
                    <a:pt x="835" y="756"/>
                  </a:lnTo>
                  <a:lnTo>
                    <a:pt x="830" y="756"/>
                  </a:lnTo>
                  <a:lnTo>
                    <a:pt x="827" y="755"/>
                  </a:lnTo>
                  <a:lnTo>
                    <a:pt x="823" y="753"/>
                  </a:lnTo>
                  <a:lnTo>
                    <a:pt x="820" y="750"/>
                  </a:lnTo>
                  <a:lnTo>
                    <a:pt x="818" y="747"/>
                  </a:lnTo>
                  <a:lnTo>
                    <a:pt x="816" y="744"/>
                  </a:lnTo>
                  <a:lnTo>
                    <a:pt x="815" y="740"/>
                  </a:lnTo>
                  <a:lnTo>
                    <a:pt x="814" y="736"/>
                  </a:lnTo>
                  <a:lnTo>
                    <a:pt x="814" y="31"/>
                  </a:lnTo>
                  <a:close/>
                  <a:moveTo>
                    <a:pt x="1071" y="382"/>
                  </a:moveTo>
                  <a:lnTo>
                    <a:pt x="1078" y="382"/>
                  </a:lnTo>
                  <a:lnTo>
                    <a:pt x="1084" y="381"/>
                  </a:lnTo>
                  <a:lnTo>
                    <a:pt x="1098" y="379"/>
                  </a:lnTo>
                  <a:lnTo>
                    <a:pt x="1110" y="376"/>
                  </a:lnTo>
                  <a:lnTo>
                    <a:pt x="1117" y="374"/>
                  </a:lnTo>
                  <a:lnTo>
                    <a:pt x="1123" y="372"/>
                  </a:lnTo>
                  <a:lnTo>
                    <a:pt x="1129" y="369"/>
                  </a:lnTo>
                  <a:lnTo>
                    <a:pt x="1135" y="366"/>
                  </a:lnTo>
                  <a:lnTo>
                    <a:pt x="1146" y="359"/>
                  </a:lnTo>
                  <a:lnTo>
                    <a:pt x="1156" y="351"/>
                  </a:lnTo>
                  <a:lnTo>
                    <a:pt x="1166" y="343"/>
                  </a:lnTo>
                  <a:lnTo>
                    <a:pt x="1175" y="333"/>
                  </a:lnTo>
                  <a:lnTo>
                    <a:pt x="1179" y="328"/>
                  </a:lnTo>
                  <a:lnTo>
                    <a:pt x="1182" y="323"/>
                  </a:lnTo>
                  <a:lnTo>
                    <a:pt x="1186" y="317"/>
                  </a:lnTo>
                  <a:lnTo>
                    <a:pt x="1189" y="312"/>
                  </a:lnTo>
                  <a:lnTo>
                    <a:pt x="1195" y="299"/>
                  </a:lnTo>
                  <a:lnTo>
                    <a:pt x="1198" y="292"/>
                  </a:lnTo>
                  <a:lnTo>
                    <a:pt x="1200" y="286"/>
                  </a:lnTo>
                  <a:lnTo>
                    <a:pt x="1203" y="273"/>
                  </a:lnTo>
                  <a:lnTo>
                    <a:pt x="1204" y="266"/>
                  </a:lnTo>
                  <a:lnTo>
                    <a:pt x="1205" y="263"/>
                  </a:lnTo>
                  <a:lnTo>
                    <a:pt x="1205" y="259"/>
                  </a:lnTo>
                  <a:lnTo>
                    <a:pt x="1206" y="252"/>
                  </a:lnTo>
                  <a:lnTo>
                    <a:pt x="1206" y="245"/>
                  </a:lnTo>
                  <a:lnTo>
                    <a:pt x="1206" y="238"/>
                  </a:lnTo>
                  <a:lnTo>
                    <a:pt x="1205" y="232"/>
                  </a:lnTo>
                  <a:lnTo>
                    <a:pt x="1203" y="219"/>
                  </a:lnTo>
                  <a:lnTo>
                    <a:pt x="1202" y="213"/>
                  </a:lnTo>
                  <a:lnTo>
                    <a:pt x="1200" y="206"/>
                  </a:lnTo>
                  <a:lnTo>
                    <a:pt x="1195" y="195"/>
                  </a:lnTo>
                  <a:lnTo>
                    <a:pt x="1189" y="183"/>
                  </a:lnTo>
                  <a:lnTo>
                    <a:pt x="1182" y="173"/>
                  </a:lnTo>
                  <a:lnTo>
                    <a:pt x="1179" y="168"/>
                  </a:lnTo>
                  <a:lnTo>
                    <a:pt x="1175" y="163"/>
                  </a:lnTo>
                  <a:lnTo>
                    <a:pt x="1170" y="158"/>
                  </a:lnTo>
                  <a:lnTo>
                    <a:pt x="1166" y="154"/>
                  </a:lnTo>
                  <a:lnTo>
                    <a:pt x="1156" y="146"/>
                  </a:lnTo>
                  <a:lnTo>
                    <a:pt x="1146" y="139"/>
                  </a:lnTo>
                  <a:lnTo>
                    <a:pt x="1135" y="132"/>
                  </a:lnTo>
                  <a:lnTo>
                    <a:pt x="1129" y="130"/>
                  </a:lnTo>
                  <a:lnTo>
                    <a:pt x="1123" y="127"/>
                  </a:lnTo>
                  <a:lnTo>
                    <a:pt x="1110" y="123"/>
                  </a:lnTo>
                  <a:lnTo>
                    <a:pt x="1098" y="120"/>
                  </a:lnTo>
                  <a:lnTo>
                    <a:pt x="1084" y="118"/>
                  </a:lnTo>
                  <a:lnTo>
                    <a:pt x="1071" y="117"/>
                  </a:lnTo>
                  <a:lnTo>
                    <a:pt x="924" y="117"/>
                  </a:lnTo>
                  <a:lnTo>
                    <a:pt x="924" y="382"/>
                  </a:lnTo>
                  <a:lnTo>
                    <a:pt x="1071" y="382"/>
                  </a:lnTo>
                  <a:close/>
                  <a:moveTo>
                    <a:pt x="1793" y="0"/>
                  </a:moveTo>
                  <a:lnTo>
                    <a:pt x="1812" y="1"/>
                  </a:lnTo>
                  <a:lnTo>
                    <a:pt x="1832" y="2"/>
                  </a:lnTo>
                  <a:lnTo>
                    <a:pt x="1851" y="5"/>
                  </a:lnTo>
                  <a:lnTo>
                    <a:pt x="1871" y="8"/>
                  </a:lnTo>
                  <a:lnTo>
                    <a:pt x="1890" y="12"/>
                  </a:lnTo>
                  <a:lnTo>
                    <a:pt x="1899" y="15"/>
                  </a:lnTo>
                  <a:lnTo>
                    <a:pt x="1908" y="18"/>
                  </a:lnTo>
                  <a:lnTo>
                    <a:pt x="1917" y="20"/>
                  </a:lnTo>
                  <a:lnTo>
                    <a:pt x="1926" y="24"/>
                  </a:lnTo>
                  <a:lnTo>
                    <a:pt x="1943" y="30"/>
                  </a:lnTo>
                  <a:lnTo>
                    <a:pt x="1960" y="38"/>
                  </a:lnTo>
                  <a:lnTo>
                    <a:pt x="1977" y="47"/>
                  </a:lnTo>
                  <a:lnTo>
                    <a:pt x="1993" y="56"/>
                  </a:lnTo>
                  <a:lnTo>
                    <a:pt x="2008" y="66"/>
                  </a:lnTo>
                  <a:lnTo>
                    <a:pt x="2023" y="76"/>
                  </a:lnTo>
                  <a:lnTo>
                    <a:pt x="2038" y="88"/>
                  </a:lnTo>
                  <a:lnTo>
                    <a:pt x="2052" y="100"/>
                  </a:lnTo>
                  <a:lnTo>
                    <a:pt x="2058" y="106"/>
                  </a:lnTo>
                  <a:lnTo>
                    <a:pt x="2065" y="113"/>
                  </a:lnTo>
                  <a:lnTo>
                    <a:pt x="2077" y="126"/>
                  </a:lnTo>
                  <a:lnTo>
                    <a:pt x="2089" y="140"/>
                  </a:lnTo>
                  <a:lnTo>
                    <a:pt x="2095" y="147"/>
                  </a:lnTo>
                  <a:lnTo>
                    <a:pt x="2101" y="154"/>
                  </a:lnTo>
                  <a:lnTo>
                    <a:pt x="2111" y="169"/>
                  </a:lnTo>
                  <a:lnTo>
                    <a:pt x="2121" y="185"/>
                  </a:lnTo>
                  <a:lnTo>
                    <a:pt x="2131" y="201"/>
                  </a:lnTo>
                  <a:lnTo>
                    <a:pt x="2139" y="218"/>
                  </a:lnTo>
                  <a:lnTo>
                    <a:pt x="2147" y="235"/>
                  </a:lnTo>
                  <a:lnTo>
                    <a:pt x="2150" y="243"/>
                  </a:lnTo>
                  <a:lnTo>
                    <a:pt x="2153" y="252"/>
                  </a:lnTo>
                  <a:lnTo>
                    <a:pt x="2159" y="270"/>
                  </a:lnTo>
                  <a:lnTo>
                    <a:pt x="2165" y="288"/>
                  </a:lnTo>
                  <a:lnTo>
                    <a:pt x="2169" y="308"/>
                  </a:lnTo>
                  <a:lnTo>
                    <a:pt x="2171" y="317"/>
                  </a:lnTo>
                  <a:lnTo>
                    <a:pt x="2172" y="327"/>
                  </a:lnTo>
                  <a:lnTo>
                    <a:pt x="2175" y="346"/>
                  </a:lnTo>
                  <a:lnTo>
                    <a:pt x="2176" y="366"/>
                  </a:lnTo>
                  <a:lnTo>
                    <a:pt x="2177" y="385"/>
                  </a:lnTo>
                  <a:lnTo>
                    <a:pt x="2176" y="405"/>
                  </a:lnTo>
                  <a:lnTo>
                    <a:pt x="2175" y="425"/>
                  </a:lnTo>
                  <a:lnTo>
                    <a:pt x="2172" y="444"/>
                  </a:lnTo>
                  <a:lnTo>
                    <a:pt x="2169" y="463"/>
                  </a:lnTo>
                  <a:lnTo>
                    <a:pt x="2165" y="481"/>
                  </a:lnTo>
                  <a:lnTo>
                    <a:pt x="2162" y="491"/>
                  </a:lnTo>
                  <a:lnTo>
                    <a:pt x="2159" y="500"/>
                  </a:lnTo>
                  <a:lnTo>
                    <a:pt x="2157" y="509"/>
                  </a:lnTo>
                  <a:lnTo>
                    <a:pt x="2153" y="517"/>
                  </a:lnTo>
                  <a:lnTo>
                    <a:pt x="2147" y="535"/>
                  </a:lnTo>
                  <a:lnTo>
                    <a:pt x="2139" y="552"/>
                  </a:lnTo>
                  <a:lnTo>
                    <a:pt x="2131" y="568"/>
                  </a:lnTo>
                  <a:lnTo>
                    <a:pt x="2121" y="584"/>
                  </a:lnTo>
                  <a:lnTo>
                    <a:pt x="2111" y="600"/>
                  </a:lnTo>
                  <a:lnTo>
                    <a:pt x="2101" y="615"/>
                  </a:lnTo>
                  <a:lnTo>
                    <a:pt x="2089" y="629"/>
                  </a:lnTo>
                  <a:lnTo>
                    <a:pt x="2077" y="643"/>
                  </a:lnTo>
                  <a:lnTo>
                    <a:pt x="2071" y="649"/>
                  </a:lnTo>
                  <a:lnTo>
                    <a:pt x="2065" y="656"/>
                  </a:lnTo>
                  <a:lnTo>
                    <a:pt x="2052" y="669"/>
                  </a:lnTo>
                  <a:lnTo>
                    <a:pt x="2038" y="681"/>
                  </a:lnTo>
                  <a:lnTo>
                    <a:pt x="2031" y="686"/>
                  </a:lnTo>
                  <a:lnTo>
                    <a:pt x="2023" y="692"/>
                  </a:lnTo>
                  <a:lnTo>
                    <a:pt x="2008" y="702"/>
                  </a:lnTo>
                  <a:lnTo>
                    <a:pt x="2001" y="707"/>
                  </a:lnTo>
                  <a:lnTo>
                    <a:pt x="1993" y="712"/>
                  </a:lnTo>
                  <a:lnTo>
                    <a:pt x="1977" y="721"/>
                  </a:lnTo>
                  <a:lnTo>
                    <a:pt x="1960" y="730"/>
                  </a:lnTo>
                  <a:lnTo>
                    <a:pt x="1952" y="734"/>
                  </a:lnTo>
                  <a:lnTo>
                    <a:pt x="1943" y="737"/>
                  </a:lnTo>
                  <a:lnTo>
                    <a:pt x="1935" y="741"/>
                  </a:lnTo>
                  <a:lnTo>
                    <a:pt x="1926" y="744"/>
                  </a:lnTo>
                  <a:lnTo>
                    <a:pt x="1908" y="750"/>
                  </a:lnTo>
                  <a:lnTo>
                    <a:pt x="1890" y="755"/>
                  </a:lnTo>
                  <a:lnTo>
                    <a:pt x="1871" y="759"/>
                  </a:lnTo>
                  <a:lnTo>
                    <a:pt x="1851" y="763"/>
                  </a:lnTo>
                  <a:lnTo>
                    <a:pt x="1832" y="765"/>
                  </a:lnTo>
                  <a:lnTo>
                    <a:pt x="1812" y="767"/>
                  </a:lnTo>
                  <a:lnTo>
                    <a:pt x="1793" y="767"/>
                  </a:lnTo>
                  <a:lnTo>
                    <a:pt x="1773" y="767"/>
                  </a:lnTo>
                  <a:lnTo>
                    <a:pt x="1753" y="765"/>
                  </a:lnTo>
                  <a:lnTo>
                    <a:pt x="1734" y="763"/>
                  </a:lnTo>
                  <a:lnTo>
                    <a:pt x="1715" y="759"/>
                  </a:lnTo>
                  <a:lnTo>
                    <a:pt x="1697" y="755"/>
                  </a:lnTo>
                  <a:lnTo>
                    <a:pt x="1678" y="750"/>
                  </a:lnTo>
                  <a:lnTo>
                    <a:pt x="1669" y="747"/>
                  </a:lnTo>
                  <a:lnTo>
                    <a:pt x="1661" y="744"/>
                  </a:lnTo>
                  <a:lnTo>
                    <a:pt x="1643" y="737"/>
                  </a:lnTo>
                  <a:lnTo>
                    <a:pt x="1626" y="730"/>
                  </a:lnTo>
                  <a:lnTo>
                    <a:pt x="1610" y="721"/>
                  </a:lnTo>
                  <a:lnTo>
                    <a:pt x="1594" y="712"/>
                  </a:lnTo>
                  <a:lnTo>
                    <a:pt x="1578" y="702"/>
                  </a:lnTo>
                  <a:lnTo>
                    <a:pt x="1563" y="692"/>
                  </a:lnTo>
                  <a:lnTo>
                    <a:pt x="1549" y="681"/>
                  </a:lnTo>
                  <a:lnTo>
                    <a:pt x="1542" y="675"/>
                  </a:lnTo>
                  <a:lnTo>
                    <a:pt x="1535" y="669"/>
                  </a:lnTo>
                  <a:lnTo>
                    <a:pt x="1522" y="656"/>
                  </a:lnTo>
                  <a:lnTo>
                    <a:pt x="1509" y="643"/>
                  </a:lnTo>
                  <a:lnTo>
                    <a:pt x="1497" y="629"/>
                  </a:lnTo>
                  <a:lnTo>
                    <a:pt x="1492" y="622"/>
                  </a:lnTo>
                  <a:lnTo>
                    <a:pt x="1486" y="615"/>
                  </a:lnTo>
                  <a:lnTo>
                    <a:pt x="1476" y="600"/>
                  </a:lnTo>
                  <a:lnTo>
                    <a:pt x="1471" y="592"/>
                  </a:lnTo>
                  <a:lnTo>
                    <a:pt x="1466" y="584"/>
                  </a:lnTo>
                  <a:lnTo>
                    <a:pt x="1457" y="568"/>
                  </a:lnTo>
                  <a:lnTo>
                    <a:pt x="1448" y="552"/>
                  </a:lnTo>
                  <a:lnTo>
                    <a:pt x="1444" y="543"/>
                  </a:lnTo>
                  <a:lnTo>
                    <a:pt x="1441" y="535"/>
                  </a:lnTo>
                  <a:lnTo>
                    <a:pt x="1437" y="526"/>
                  </a:lnTo>
                  <a:lnTo>
                    <a:pt x="1434" y="517"/>
                  </a:lnTo>
                  <a:lnTo>
                    <a:pt x="1428" y="500"/>
                  </a:lnTo>
                  <a:lnTo>
                    <a:pt x="1423" y="481"/>
                  </a:lnTo>
                  <a:lnTo>
                    <a:pt x="1419" y="463"/>
                  </a:lnTo>
                  <a:lnTo>
                    <a:pt x="1415" y="444"/>
                  </a:lnTo>
                  <a:lnTo>
                    <a:pt x="1413" y="425"/>
                  </a:lnTo>
                  <a:lnTo>
                    <a:pt x="1411" y="405"/>
                  </a:lnTo>
                  <a:lnTo>
                    <a:pt x="1411" y="385"/>
                  </a:lnTo>
                  <a:lnTo>
                    <a:pt x="1411" y="366"/>
                  </a:lnTo>
                  <a:lnTo>
                    <a:pt x="1413" y="346"/>
                  </a:lnTo>
                  <a:lnTo>
                    <a:pt x="1415" y="327"/>
                  </a:lnTo>
                  <a:lnTo>
                    <a:pt x="1419" y="308"/>
                  </a:lnTo>
                  <a:lnTo>
                    <a:pt x="1423" y="288"/>
                  </a:lnTo>
                  <a:lnTo>
                    <a:pt x="1428" y="270"/>
                  </a:lnTo>
                  <a:lnTo>
                    <a:pt x="1431" y="261"/>
                  </a:lnTo>
                  <a:lnTo>
                    <a:pt x="1434" y="252"/>
                  </a:lnTo>
                  <a:lnTo>
                    <a:pt x="1437" y="243"/>
                  </a:lnTo>
                  <a:lnTo>
                    <a:pt x="1441" y="235"/>
                  </a:lnTo>
                  <a:lnTo>
                    <a:pt x="1448" y="218"/>
                  </a:lnTo>
                  <a:lnTo>
                    <a:pt x="1457" y="201"/>
                  </a:lnTo>
                  <a:lnTo>
                    <a:pt x="1466" y="185"/>
                  </a:lnTo>
                  <a:lnTo>
                    <a:pt x="1476" y="169"/>
                  </a:lnTo>
                  <a:lnTo>
                    <a:pt x="1486" y="154"/>
                  </a:lnTo>
                  <a:lnTo>
                    <a:pt x="1497" y="140"/>
                  </a:lnTo>
                  <a:lnTo>
                    <a:pt x="1503" y="133"/>
                  </a:lnTo>
                  <a:lnTo>
                    <a:pt x="1509" y="126"/>
                  </a:lnTo>
                  <a:lnTo>
                    <a:pt x="1522" y="113"/>
                  </a:lnTo>
                  <a:lnTo>
                    <a:pt x="1535" y="100"/>
                  </a:lnTo>
                  <a:lnTo>
                    <a:pt x="1542" y="94"/>
                  </a:lnTo>
                  <a:lnTo>
                    <a:pt x="1549" y="88"/>
                  </a:lnTo>
                  <a:lnTo>
                    <a:pt x="1563" y="76"/>
                  </a:lnTo>
                  <a:lnTo>
                    <a:pt x="1578" y="66"/>
                  </a:lnTo>
                  <a:lnTo>
                    <a:pt x="1594" y="56"/>
                  </a:lnTo>
                  <a:lnTo>
                    <a:pt x="1610" y="47"/>
                  </a:lnTo>
                  <a:lnTo>
                    <a:pt x="1626" y="38"/>
                  </a:lnTo>
                  <a:lnTo>
                    <a:pt x="1643" y="30"/>
                  </a:lnTo>
                  <a:lnTo>
                    <a:pt x="1652" y="27"/>
                  </a:lnTo>
                  <a:lnTo>
                    <a:pt x="1661" y="24"/>
                  </a:lnTo>
                  <a:lnTo>
                    <a:pt x="1669" y="20"/>
                  </a:lnTo>
                  <a:lnTo>
                    <a:pt x="1678" y="18"/>
                  </a:lnTo>
                  <a:lnTo>
                    <a:pt x="1697" y="12"/>
                  </a:lnTo>
                  <a:lnTo>
                    <a:pt x="1715" y="8"/>
                  </a:lnTo>
                  <a:lnTo>
                    <a:pt x="1725" y="6"/>
                  </a:lnTo>
                  <a:lnTo>
                    <a:pt x="1734" y="5"/>
                  </a:lnTo>
                  <a:lnTo>
                    <a:pt x="1753" y="2"/>
                  </a:lnTo>
                  <a:lnTo>
                    <a:pt x="1773" y="1"/>
                  </a:lnTo>
                  <a:lnTo>
                    <a:pt x="1793" y="0"/>
                  </a:lnTo>
                  <a:close/>
                  <a:moveTo>
                    <a:pt x="1793" y="661"/>
                  </a:moveTo>
                  <a:lnTo>
                    <a:pt x="1807" y="660"/>
                  </a:lnTo>
                  <a:lnTo>
                    <a:pt x="1821" y="659"/>
                  </a:lnTo>
                  <a:lnTo>
                    <a:pt x="1835" y="658"/>
                  </a:lnTo>
                  <a:lnTo>
                    <a:pt x="1848" y="655"/>
                  </a:lnTo>
                  <a:lnTo>
                    <a:pt x="1862" y="652"/>
                  </a:lnTo>
                  <a:lnTo>
                    <a:pt x="1876" y="648"/>
                  </a:lnTo>
                  <a:lnTo>
                    <a:pt x="1888" y="644"/>
                  </a:lnTo>
                  <a:lnTo>
                    <a:pt x="1901" y="639"/>
                  </a:lnTo>
                  <a:lnTo>
                    <a:pt x="1913" y="634"/>
                  </a:lnTo>
                  <a:lnTo>
                    <a:pt x="1925" y="628"/>
                  </a:lnTo>
                  <a:lnTo>
                    <a:pt x="1931" y="624"/>
                  </a:lnTo>
                  <a:lnTo>
                    <a:pt x="1937" y="621"/>
                  </a:lnTo>
                  <a:lnTo>
                    <a:pt x="1948" y="614"/>
                  </a:lnTo>
                  <a:lnTo>
                    <a:pt x="1959" y="606"/>
                  </a:lnTo>
                  <a:lnTo>
                    <a:pt x="1969" y="598"/>
                  </a:lnTo>
                  <a:lnTo>
                    <a:pt x="1979" y="589"/>
                  </a:lnTo>
                  <a:lnTo>
                    <a:pt x="1989" y="580"/>
                  </a:lnTo>
                  <a:lnTo>
                    <a:pt x="1998" y="571"/>
                  </a:lnTo>
                  <a:lnTo>
                    <a:pt x="2007" y="561"/>
                  </a:lnTo>
                  <a:lnTo>
                    <a:pt x="2015" y="550"/>
                  </a:lnTo>
                  <a:lnTo>
                    <a:pt x="2023" y="539"/>
                  </a:lnTo>
                  <a:lnTo>
                    <a:pt x="2030" y="528"/>
                  </a:lnTo>
                  <a:lnTo>
                    <a:pt x="2037" y="517"/>
                  </a:lnTo>
                  <a:lnTo>
                    <a:pt x="2043" y="505"/>
                  </a:lnTo>
                  <a:lnTo>
                    <a:pt x="2048" y="493"/>
                  </a:lnTo>
                  <a:lnTo>
                    <a:pt x="2053" y="480"/>
                  </a:lnTo>
                  <a:lnTo>
                    <a:pt x="2058" y="467"/>
                  </a:lnTo>
                  <a:lnTo>
                    <a:pt x="2061" y="454"/>
                  </a:lnTo>
                  <a:lnTo>
                    <a:pt x="2065" y="441"/>
                  </a:lnTo>
                  <a:lnTo>
                    <a:pt x="2067" y="427"/>
                  </a:lnTo>
                  <a:lnTo>
                    <a:pt x="2069" y="413"/>
                  </a:lnTo>
                  <a:lnTo>
                    <a:pt x="2070" y="399"/>
                  </a:lnTo>
                  <a:lnTo>
                    <a:pt x="2070" y="385"/>
                  </a:lnTo>
                  <a:lnTo>
                    <a:pt x="2070" y="371"/>
                  </a:lnTo>
                  <a:lnTo>
                    <a:pt x="2069" y="357"/>
                  </a:lnTo>
                  <a:lnTo>
                    <a:pt x="2067" y="344"/>
                  </a:lnTo>
                  <a:lnTo>
                    <a:pt x="2065" y="330"/>
                  </a:lnTo>
                  <a:lnTo>
                    <a:pt x="2061" y="317"/>
                  </a:lnTo>
                  <a:lnTo>
                    <a:pt x="2058" y="304"/>
                  </a:lnTo>
                  <a:lnTo>
                    <a:pt x="2053" y="290"/>
                  </a:lnTo>
                  <a:lnTo>
                    <a:pt x="2048" y="277"/>
                  </a:lnTo>
                  <a:lnTo>
                    <a:pt x="2043" y="265"/>
                  </a:lnTo>
                  <a:lnTo>
                    <a:pt x="2037" y="253"/>
                  </a:lnTo>
                  <a:lnTo>
                    <a:pt x="2030" y="241"/>
                  </a:lnTo>
                  <a:lnTo>
                    <a:pt x="2023" y="230"/>
                  </a:lnTo>
                  <a:lnTo>
                    <a:pt x="2015" y="219"/>
                  </a:lnTo>
                  <a:lnTo>
                    <a:pt x="2007" y="209"/>
                  </a:lnTo>
                  <a:lnTo>
                    <a:pt x="1998" y="199"/>
                  </a:lnTo>
                  <a:lnTo>
                    <a:pt x="1989" y="189"/>
                  </a:lnTo>
                  <a:lnTo>
                    <a:pt x="1979" y="180"/>
                  </a:lnTo>
                  <a:lnTo>
                    <a:pt x="1969" y="171"/>
                  </a:lnTo>
                  <a:lnTo>
                    <a:pt x="1959" y="163"/>
                  </a:lnTo>
                  <a:lnTo>
                    <a:pt x="1948" y="155"/>
                  </a:lnTo>
                  <a:lnTo>
                    <a:pt x="1937" y="147"/>
                  </a:lnTo>
                  <a:lnTo>
                    <a:pt x="1925" y="141"/>
                  </a:lnTo>
                  <a:lnTo>
                    <a:pt x="1913" y="135"/>
                  </a:lnTo>
                  <a:lnTo>
                    <a:pt x="1901" y="129"/>
                  </a:lnTo>
                  <a:lnTo>
                    <a:pt x="1888" y="124"/>
                  </a:lnTo>
                  <a:lnTo>
                    <a:pt x="1876" y="119"/>
                  </a:lnTo>
                  <a:lnTo>
                    <a:pt x="1862" y="116"/>
                  </a:lnTo>
                  <a:lnTo>
                    <a:pt x="1848" y="113"/>
                  </a:lnTo>
                  <a:lnTo>
                    <a:pt x="1835" y="110"/>
                  </a:lnTo>
                  <a:lnTo>
                    <a:pt x="1821" y="108"/>
                  </a:lnTo>
                  <a:lnTo>
                    <a:pt x="1807" y="107"/>
                  </a:lnTo>
                  <a:lnTo>
                    <a:pt x="1793" y="107"/>
                  </a:lnTo>
                  <a:lnTo>
                    <a:pt x="1779" y="107"/>
                  </a:lnTo>
                  <a:lnTo>
                    <a:pt x="1765" y="108"/>
                  </a:lnTo>
                  <a:lnTo>
                    <a:pt x="1751" y="110"/>
                  </a:lnTo>
                  <a:lnTo>
                    <a:pt x="1737" y="113"/>
                  </a:lnTo>
                  <a:lnTo>
                    <a:pt x="1724" y="116"/>
                  </a:lnTo>
                  <a:lnTo>
                    <a:pt x="1711" y="119"/>
                  </a:lnTo>
                  <a:lnTo>
                    <a:pt x="1698" y="124"/>
                  </a:lnTo>
                  <a:lnTo>
                    <a:pt x="1686" y="129"/>
                  </a:lnTo>
                  <a:lnTo>
                    <a:pt x="1674" y="135"/>
                  </a:lnTo>
                  <a:lnTo>
                    <a:pt x="1662" y="141"/>
                  </a:lnTo>
                  <a:lnTo>
                    <a:pt x="1650" y="147"/>
                  </a:lnTo>
                  <a:lnTo>
                    <a:pt x="1639" y="155"/>
                  </a:lnTo>
                  <a:lnTo>
                    <a:pt x="1628" y="163"/>
                  </a:lnTo>
                  <a:lnTo>
                    <a:pt x="1618" y="171"/>
                  </a:lnTo>
                  <a:lnTo>
                    <a:pt x="1608" y="180"/>
                  </a:lnTo>
                  <a:lnTo>
                    <a:pt x="1598" y="189"/>
                  </a:lnTo>
                  <a:lnTo>
                    <a:pt x="1589" y="199"/>
                  </a:lnTo>
                  <a:lnTo>
                    <a:pt x="1580" y="209"/>
                  </a:lnTo>
                  <a:lnTo>
                    <a:pt x="1572" y="219"/>
                  </a:lnTo>
                  <a:lnTo>
                    <a:pt x="1565" y="230"/>
                  </a:lnTo>
                  <a:lnTo>
                    <a:pt x="1557" y="241"/>
                  </a:lnTo>
                  <a:lnTo>
                    <a:pt x="1551" y="253"/>
                  </a:lnTo>
                  <a:lnTo>
                    <a:pt x="1545" y="265"/>
                  </a:lnTo>
                  <a:lnTo>
                    <a:pt x="1539" y="277"/>
                  </a:lnTo>
                  <a:lnTo>
                    <a:pt x="1534" y="290"/>
                  </a:lnTo>
                  <a:lnTo>
                    <a:pt x="1530" y="304"/>
                  </a:lnTo>
                  <a:lnTo>
                    <a:pt x="1526" y="317"/>
                  </a:lnTo>
                  <a:lnTo>
                    <a:pt x="1523" y="330"/>
                  </a:lnTo>
                  <a:lnTo>
                    <a:pt x="1520" y="344"/>
                  </a:lnTo>
                  <a:lnTo>
                    <a:pt x="1519" y="357"/>
                  </a:lnTo>
                  <a:lnTo>
                    <a:pt x="1518" y="371"/>
                  </a:lnTo>
                  <a:lnTo>
                    <a:pt x="1517" y="385"/>
                  </a:lnTo>
                  <a:lnTo>
                    <a:pt x="1518" y="399"/>
                  </a:lnTo>
                  <a:lnTo>
                    <a:pt x="1519" y="413"/>
                  </a:lnTo>
                  <a:lnTo>
                    <a:pt x="1520" y="427"/>
                  </a:lnTo>
                  <a:lnTo>
                    <a:pt x="1523" y="441"/>
                  </a:lnTo>
                  <a:lnTo>
                    <a:pt x="1526" y="454"/>
                  </a:lnTo>
                  <a:lnTo>
                    <a:pt x="1530" y="467"/>
                  </a:lnTo>
                  <a:lnTo>
                    <a:pt x="1534" y="480"/>
                  </a:lnTo>
                  <a:lnTo>
                    <a:pt x="1539" y="493"/>
                  </a:lnTo>
                  <a:lnTo>
                    <a:pt x="1545" y="505"/>
                  </a:lnTo>
                  <a:lnTo>
                    <a:pt x="1551" y="517"/>
                  </a:lnTo>
                  <a:lnTo>
                    <a:pt x="1557" y="528"/>
                  </a:lnTo>
                  <a:lnTo>
                    <a:pt x="1565" y="539"/>
                  </a:lnTo>
                  <a:lnTo>
                    <a:pt x="1572" y="550"/>
                  </a:lnTo>
                  <a:lnTo>
                    <a:pt x="1580" y="561"/>
                  </a:lnTo>
                  <a:lnTo>
                    <a:pt x="1589" y="571"/>
                  </a:lnTo>
                  <a:lnTo>
                    <a:pt x="1598" y="580"/>
                  </a:lnTo>
                  <a:lnTo>
                    <a:pt x="1608" y="589"/>
                  </a:lnTo>
                  <a:lnTo>
                    <a:pt x="1618" y="598"/>
                  </a:lnTo>
                  <a:lnTo>
                    <a:pt x="1628" y="606"/>
                  </a:lnTo>
                  <a:lnTo>
                    <a:pt x="1639" y="614"/>
                  </a:lnTo>
                  <a:lnTo>
                    <a:pt x="1650" y="621"/>
                  </a:lnTo>
                  <a:lnTo>
                    <a:pt x="1662" y="628"/>
                  </a:lnTo>
                  <a:lnTo>
                    <a:pt x="1674" y="634"/>
                  </a:lnTo>
                  <a:lnTo>
                    <a:pt x="1686" y="639"/>
                  </a:lnTo>
                  <a:lnTo>
                    <a:pt x="1698" y="644"/>
                  </a:lnTo>
                  <a:lnTo>
                    <a:pt x="1711" y="648"/>
                  </a:lnTo>
                  <a:lnTo>
                    <a:pt x="1724" y="652"/>
                  </a:lnTo>
                  <a:lnTo>
                    <a:pt x="1737" y="655"/>
                  </a:lnTo>
                  <a:lnTo>
                    <a:pt x="1751" y="658"/>
                  </a:lnTo>
                  <a:lnTo>
                    <a:pt x="1765" y="659"/>
                  </a:lnTo>
                  <a:lnTo>
                    <a:pt x="1779" y="660"/>
                  </a:lnTo>
                  <a:lnTo>
                    <a:pt x="1793" y="661"/>
                  </a:lnTo>
                  <a:close/>
                  <a:moveTo>
                    <a:pt x="2426" y="111"/>
                  </a:moveTo>
                  <a:lnTo>
                    <a:pt x="2235" y="111"/>
                  </a:lnTo>
                  <a:lnTo>
                    <a:pt x="2230" y="111"/>
                  </a:lnTo>
                  <a:lnTo>
                    <a:pt x="2227" y="109"/>
                  </a:lnTo>
                  <a:lnTo>
                    <a:pt x="2223" y="107"/>
                  </a:lnTo>
                  <a:lnTo>
                    <a:pt x="2220" y="105"/>
                  </a:lnTo>
                  <a:lnTo>
                    <a:pt x="2218" y="102"/>
                  </a:lnTo>
                  <a:lnTo>
                    <a:pt x="2216" y="98"/>
                  </a:lnTo>
                  <a:lnTo>
                    <a:pt x="2215" y="95"/>
                  </a:lnTo>
                  <a:lnTo>
                    <a:pt x="2214" y="91"/>
                  </a:lnTo>
                  <a:lnTo>
                    <a:pt x="2214" y="31"/>
                  </a:lnTo>
                  <a:lnTo>
                    <a:pt x="2215" y="27"/>
                  </a:lnTo>
                  <a:lnTo>
                    <a:pt x="2216" y="24"/>
                  </a:lnTo>
                  <a:lnTo>
                    <a:pt x="2218" y="20"/>
                  </a:lnTo>
                  <a:lnTo>
                    <a:pt x="2220" y="17"/>
                  </a:lnTo>
                  <a:lnTo>
                    <a:pt x="2223" y="15"/>
                  </a:lnTo>
                  <a:lnTo>
                    <a:pt x="2227" y="13"/>
                  </a:lnTo>
                  <a:lnTo>
                    <a:pt x="2230" y="11"/>
                  </a:lnTo>
                  <a:lnTo>
                    <a:pt x="2235" y="11"/>
                  </a:lnTo>
                  <a:lnTo>
                    <a:pt x="2727" y="11"/>
                  </a:lnTo>
                  <a:lnTo>
                    <a:pt x="2732" y="11"/>
                  </a:lnTo>
                  <a:lnTo>
                    <a:pt x="2736" y="13"/>
                  </a:lnTo>
                  <a:lnTo>
                    <a:pt x="2739" y="15"/>
                  </a:lnTo>
                  <a:lnTo>
                    <a:pt x="2742" y="17"/>
                  </a:lnTo>
                  <a:lnTo>
                    <a:pt x="2744" y="20"/>
                  </a:lnTo>
                  <a:lnTo>
                    <a:pt x="2746" y="24"/>
                  </a:lnTo>
                  <a:lnTo>
                    <a:pt x="2747" y="27"/>
                  </a:lnTo>
                  <a:lnTo>
                    <a:pt x="2748" y="31"/>
                  </a:lnTo>
                  <a:lnTo>
                    <a:pt x="2748" y="91"/>
                  </a:lnTo>
                  <a:lnTo>
                    <a:pt x="2747" y="95"/>
                  </a:lnTo>
                  <a:lnTo>
                    <a:pt x="2746" y="98"/>
                  </a:lnTo>
                  <a:lnTo>
                    <a:pt x="2744" y="102"/>
                  </a:lnTo>
                  <a:lnTo>
                    <a:pt x="2742" y="105"/>
                  </a:lnTo>
                  <a:lnTo>
                    <a:pt x="2739" y="107"/>
                  </a:lnTo>
                  <a:lnTo>
                    <a:pt x="2736" y="109"/>
                  </a:lnTo>
                  <a:lnTo>
                    <a:pt x="2732" y="111"/>
                  </a:lnTo>
                  <a:lnTo>
                    <a:pt x="2727" y="111"/>
                  </a:lnTo>
                  <a:lnTo>
                    <a:pt x="2536" y="111"/>
                  </a:lnTo>
                  <a:lnTo>
                    <a:pt x="2536" y="736"/>
                  </a:lnTo>
                  <a:lnTo>
                    <a:pt x="2536" y="740"/>
                  </a:lnTo>
                  <a:lnTo>
                    <a:pt x="2535" y="744"/>
                  </a:lnTo>
                  <a:lnTo>
                    <a:pt x="2533" y="747"/>
                  </a:lnTo>
                  <a:lnTo>
                    <a:pt x="2530" y="750"/>
                  </a:lnTo>
                  <a:lnTo>
                    <a:pt x="2527" y="753"/>
                  </a:lnTo>
                  <a:lnTo>
                    <a:pt x="2524" y="755"/>
                  </a:lnTo>
                  <a:lnTo>
                    <a:pt x="2520" y="756"/>
                  </a:lnTo>
                  <a:lnTo>
                    <a:pt x="2516" y="757"/>
                  </a:lnTo>
                  <a:lnTo>
                    <a:pt x="2446" y="757"/>
                  </a:lnTo>
                  <a:lnTo>
                    <a:pt x="2442" y="756"/>
                  </a:lnTo>
                  <a:lnTo>
                    <a:pt x="2438" y="755"/>
                  </a:lnTo>
                  <a:lnTo>
                    <a:pt x="2435" y="753"/>
                  </a:lnTo>
                  <a:lnTo>
                    <a:pt x="2432" y="750"/>
                  </a:lnTo>
                  <a:lnTo>
                    <a:pt x="2429" y="747"/>
                  </a:lnTo>
                  <a:lnTo>
                    <a:pt x="2427" y="744"/>
                  </a:lnTo>
                  <a:lnTo>
                    <a:pt x="2426" y="740"/>
                  </a:lnTo>
                  <a:lnTo>
                    <a:pt x="2426" y="736"/>
                  </a:lnTo>
                  <a:lnTo>
                    <a:pt x="2426" y="111"/>
                  </a:lnTo>
                  <a:close/>
                  <a:moveTo>
                    <a:pt x="2885" y="31"/>
                  </a:moveTo>
                  <a:lnTo>
                    <a:pt x="2885" y="27"/>
                  </a:lnTo>
                  <a:lnTo>
                    <a:pt x="2886" y="24"/>
                  </a:lnTo>
                  <a:lnTo>
                    <a:pt x="2888" y="20"/>
                  </a:lnTo>
                  <a:lnTo>
                    <a:pt x="2891" y="17"/>
                  </a:lnTo>
                  <a:lnTo>
                    <a:pt x="2893" y="15"/>
                  </a:lnTo>
                  <a:lnTo>
                    <a:pt x="2897" y="13"/>
                  </a:lnTo>
                  <a:lnTo>
                    <a:pt x="2901" y="11"/>
                  </a:lnTo>
                  <a:lnTo>
                    <a:pt x="2905" y="11"/>
                  </a:lnTo>
                  <a:lnTo>
                    <a:pt x="3331" y="11"/>
                  </a:lnTo>
                  <a:lnTo>
                    <a:pt x="3336" y="11"/>
                  </a:lnTo>
                  <a:lnTo>
                    <a:pt x="3340" y="13"/>
                  </a:lnTo>
                  <a:lnTo>
                    <a:pt x="3343" y="15"/>
                  </a:lnTo>
                  <a:lnTo>
                    <a:pt x="3346" y="17"/>
                  </a:lnTo>
                  <a:lnTo>
                    <a:pt x="3348" y="20"/>
                  </a:lnTo>
                  <a:lnTo>
                    <a:pt x="3350" y="24"/>
                  </a:lnTo>
                  <a:lnTo>
                    <a:pt x="3351" y="27"/>
                  </a:lnTo>
                  <a:lnTo>
                    <a:pt x="3352" y="31"/>
                  </a:lnTo>
                  <a:lnTo>
                    <a:pt x="3352" y="91"/>
                  </a:lnTo>
                  <a:lnTo>
                    <a:pt x="3351" y="95"/>
                  </a:lnTo>
                  <a:lnTo>
                    <a:pt x="3350" y="98"/>
                  </a:lnTo>
                  <a:lnTo>
                    <a:pt x="3348" y="102"/>
                  </a:lnTo>
                  <a:lnTo>
                    <a:pt x="3346" y="105"/>
                  </a:lnTo>
                  <a:lnTo>
                    <a:pt x="3343" y="107"/>
                  </a:lnTo>
                  <a:lnTo>
                    <a:pt x="3340" y="109"/>
                  </a:lnTo>
                  <a:lnTo>
                    <a:pt x="3336" y="111"/>
                  </a:lnTo>
                  <a:lnTo>
                    <a:pt x="3331" y="111"/>
                  </a:lnTo>
                  <a:lnTo>
                    <a:pt x="2994" y="111"/>
                  </a:lnTo>
                  <a:lnTo>
                    <a:pt x="2994" y="329"/>
                  </a:lnTo>
                  <a:lnTo>
                    <a:pt x="3278" y="329"/>
                  </a:lnTo>
                  <a:lnTo>
                    <a:pt x="3282" y="329"/>
                  </a:lnTo>
                  <a:lnTo>
                    <a:pt x="3286" y="331"/>
                  </a:lnTo>
                  <a:lnTo>
                    <a:pt x="3289" y="333"/>
                  </a:lnTo>
                  <a:lnTo>
                    <a:pt x="3292" y="335"/>
                  </a:lnTo>
                  <a:lnTo>
                    <a:pt x="3295" y="338"/>
                  </a:lnTo>
                  <a:lnTo>
                    <a:pt x="3297" y="342"/>
                  </a:lnTo>
                  <a:lnTo>
                    <a:pt x="3298" y="345"/>
                  </a:lnTo>
                  <a:lnTo>
                    <a:pt x="3298" y="349"/>
                  </a:lnTo>
                  <a:lnTo>
                    <a:pt x="3298" y="409"/>
                  </a:lnTo>
                  <a:lnTo>
                    <a:pt x="3298" y="413"/>
                  </a:lnTo>
                  <a:lnTo>
                    <a:pt x="3297" y="417"/>
                  </a:lnTo>
                  <a:lnTo>
                    <a:pt x="3295" y="420"/>
                  </a:lnTo>
                  <a:lnTo>
                    <a:pt x="3292" y="423"/>
                  </a:lnTo>
                  <a:lnTo>
                    <a:pt x="3289" y="426"/>
                  </a:lnTo>
                  <a:lnTo>
                    <a:pt x="3286" y="427"/>
                  </a:lnTo>
                  <a:lnTo>
                    <a:pt x="3282" y="429"/>
                  </a:lnTo>
                  <a:lnTo>
                    <a:pt x="3278" y="429"/>
                  </a:lnTo>
                  <a:lnTo>
                    <a:pt x="2994" y="429"/>
                  </a:lnTo>
                  <a:lnTo>
                    <a:pt x="2994" y="658"/>
                  </a:lnTo>
                  <a:lnTo>
                    <a:pt x="3331" y="658"/>
                  </a:lnTo>
                  <a:lnTo>
                    <a:pt x="3336" y="658"/>
                  </a:lnTo>
                  <a:lnTo>
                    <a:pt x="3340" y="659"/>
                  </a:lnTo>
                  <a:lnTo>
                    <a:pt x="3343" y="661"/>
                  </a:lnTo>
                  <a:lnTo>
                    <a:pt x="3346" y="664"/>
                  </a:lnTo>
                  <a:lnTo>
                    <a:pt x="3348" y="667"/>
                  </a:lnTo>
                  <a:lnTo>
                    <a:pt x="3350" y="670"/>
                  </a:lnTo>
                  <a:lnTo>
                    <a:pt x="3351" y="674"/>
                  </a:lnTo>
                  <a:lnTo>
                    <a:pt x="3352" y="678"/>
                  </a:lnTo>
                  <a:lnTo>
                    <a:pt x="3352" y="736"/>
                  </a:lnTo>
                  <a:lnTo>
                    <a:pt x="3351" y="740"/>
                  </a:lnTo>
                  <a:lnTo>
                    <a:pt x="3350" y="744"/>
                  </a:lnTo>
                  <a:lnTo>
                    <a:pt x="3348" y="747"/>
                  </a:lnTo>
                  <a:lnTo>
                    <a:pt x="3346" y="750"/>
                  </a:lnTo>
                  <a:lnTo>
                    <a:pt x="3343" y="753"/>
                  </a:lnTo>
                  <a:lnTo>
                    <a:pt x="3340" y="755"/>
                  </a:lnTo>
                  <a:lnTo>
                    <a:pt x="3336" y="756"/>
                  </a:lnTo>
                  <a:lnTo>
                    <a:pt x="3331" y="757"/>
                  </a:lnTo>
                  <a:lnTo>
                    <a:pt x="2905" y="757"/>
                  </a:lnTo>
                  <a:lnTo>
                    <a:pt x="2901" y="756"/>
                  </a:lnTo>
                  <a:lnTo>
                    <a:pt x="2897" y="755"/>
                  </a:lnTo>
                  <a:lnTo>
                    <a:pt x="2893" y="753"/>
                  </a:lnTo>
                  <a:lnTo>
                    <a:pt x="2891" y="750"/>
                  </a:lnTo>
                  <a:lnTo>
                    <a:pt x="2888" y="747"/>
                  </a:lnTo>
                  <a:lnTo>
                    <a:pt x="2886" y="744"/>
                  </a:lnTo>
                  <a:lnTo>
                    <a:pt x="2885" y="740"/>
                  </a:lnTo>
                  <a:lnTo>
                    <a:pt x="2885" y="736"/>
                  </a:lnTo>
                  <a:lnTo>
                    <a:pt x="2885" y="3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4381025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PIC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6763" y="5085230"/>
            <a:ext cx="3889037" cy="936130"/>
          </a:xfrm>
        </p:spPr>
        <p:txBody>
          <a:bodyPr anchor="t" anchorCtr="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E5E87FD4-3FE5-4E7C-82C1-8B972D4C0D02}" type="datetime1">
              <a:rPr lang="fi-FI" smtClean="0"/>
              <a:t>31.3.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Presentation name and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50B285B-2D20-4CC2-81CD-215A1F1E113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>
            <a:off x="5375920" y="0"/>
            <a:ext cx="6816080" cy="6777038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grpSp>
        <p:nvGrpSpPr>
          <p:cNvPr id="12" name="Group 11"/>
          <p:cNvGrpSpPr>
            <a:grpSpLocks noChangeAspect="1"/>
          </p:cNvGrpSpPr>
          <p:nvPr userDrawn="1"/>
        </p:nvGrpSpPr>
        <p:grpSpPr>
          <a:xfrm>
            <a:off x="767260" y="566640"/>
            <a:ext cx="1703100" cy="270000"/>
            <a:chOff x="1455738" y="2698750"/>
            <a:chExt cx="9272588" cy="1470025"/>
          </a:xfrm>
          <a:solidFill>
            <a:schemeClr val="bg1"/>
          </a:solidFill>
        </p:grpSpPr>
        <p:sp>
          <p:nvSpPr>
            <p:cNvPr id="13" name="Freeform 6"/>
            <p:cNvSpPr>
              <a:spLocks noEditPoints="1"/>
            </p:cNvSpPr>
            <p:nvPr userDrawn="1"/>
          </p:nvSpPr>
          <p:spPr bwMode="auto">
            <a:xfrm>
              <a:off x="1455738" y="2698750"/>
              <a:ext cx="2762250" cy="1416050"/>
            </a:xfrm>
            <a:custGeom>
              <a:avLst/>
              <a:gdLst>
                <a:gd name="T0" fmla="*/ 1740 w 1740"/>
                <a:gd name="T1" fmla="*/ 192 h 892"/>
                <a:gd name="T2" fmla="*/ 1591 w 1740"/>
                <a:gd name="T3" fmla="*/ 483 h 892"/>
                <a:gd name="T4" fmla="*/ 1457 w 1740"/>
                <a:gd name="T5" fmla="*/ 741 h 892"/>
                <a:gd name="T6" fmla="*/ 1047 w 1740"/>
                <a:gd name="T7" fmla="*/ 709 h 892"/>
                <a:gd name="T8" fmla="*/ 607 w 1740"/>
                <a:gd name="T9" fmla="*/ 713 h 892"/>
                <a:gd name="T10" fmla="*/ 257 w 1740"/>
                <a:gd name="T11" fmla="*/ 742 h 892"/>
                <a:gd name="T12" fmla="*/ 149 w 1740"/>
                <a:gd name="T13" fmla="*/ 483 h 892"/>
                <a:gd name="T14" fmla="*/ 0 w 1740"/>
                <a:gd name="T15" fmla="*/ 189 h 892"/>
                <a:gd name="T16" fmla="*/ 36 w 1740"/>
                <a:gd name="T17" fmla="*/ 180 h 892"/>
                <a:gd name="T18" fmla="*/ 121 w 1740"/>
                <a:gd name="T19" fmla="*/ 218 h 892"/>
                <a:gd name="T20" fmla="*/ 194 w 1740"/>
                <a:gd name="T21" fmla="*/ 280 h 892"/>
                <a:gd name="T22" fmla="*/ 249 w 1740"/>
                <a:gd name="T23" fmla="*/ 235 h 892"/>
                <a:gd name="T24" fmla="*/ 335 w 1740"/>
                <a:gd name="T25" fmla="*/ 232 h 892"/>
                <a:gd name="T26" fmla="*/ 390 w 1740"/>
                <a:gd name="T27" fmla="*/ 272 h 892"/>
                <a:gd name="T28" fmla="*/ 362 w 1740"/>
                <a:gd name="T29" fmla="*/ 310 h 892"/>
                <a:gd name="T30" fmla="*/ 334 w 1740"/>
                <a:gd name="T31" fmla="*/ 386 h 892"/>
                <a:gd name="T32" fmla="*/ 344 w 1740"/>
                <a:gd name="T33" fmla="*/ 462 h 892"/>
                <a:gd name="T34" fmla="*/ 405 w 1740"/>
                <a:gd name="T35" fmla="*/ 538 h 892"/>
                <a:gd name="T36" fmla="*/ 492 w 1740"/>
                <a:gd name="T37" fmla="*/ 572 h 892"/>
                <a:gd name="T38" fmla="*/ 590 w 1740"/>
                <a:gd name="T39" fmla="*/ 561 h 892"/>
                <a:gd name="T40" fmla="*/ 658 w 1740"/>
                <a:gd name="T41" fmla="*/ 519 h 892"/>
                <a:gd name="T42" fmla="*/ 706 w 1740"/>
                <a:gd name="T43" fmla="*/ 439 h 892"/>
                <a:gd name="T44" fmla="*/ 704 w 1740"/>
                <a:gd name="T45" fmla="*/ 352 h 892"/>
                <a:gd name="T46" fmla="*/ 653 w 1740"/>
                <a:gd name="T47" fmla="*/ 275 h 892"/>
                <a:gd name="T48" fmla="*/ 596 w 1740"/>
                <a:gd name="T49" fmla="*/ 239 h 892"/>
                <a:gd name="T50" fmla="*/ 615 w 1740"/>
                <a:gd name="T51" fmla="*/ 201 h 892"/>
                <a:gd name="T52" fmla="*/ 678 w 1740"/>
                <a:gd name="T53" fmla="*/ 167 h 892"/>
                <a:gd name="T54" fmla="*/ 760 w 1740"/>
                <a:gd name="T55" fmla="*/ 178 h 892"/>
                <a:gd name="T56" fmla="*/ 790 w 1740"/>
                <a:gd name="T57" fmla="*/ 100 h 892"/>
                <a:gd name="T58" fmla="*/ 822 w 1740"/>
                <a:gd name="T59" fmla="*/ 39 h 892"/>
                <a:gd name="T60" fmla="*/ 871 w 1740"/>
                <a:gd name="T61" fmla="*/ 0 h 892"/>
                <a:gd name="T62" fmla="*/ 920 w 1740"/>
                <a:gd name="T63" fmla="*/ 39 h 892"/>
                <a:gd name="T64" fmla="*/ 962 w 1740"/>
                <a:gd name="T65" fmla="*/ 152 h 892"/>
                <a:gd name="T66" fmla="*/ 1027 w 1740"/>
                <a:gd name="T67" fmla="*/ 165 h 892"/>
                <a:gd name="T68" fmla="*/ 1093 w 1740"/>
                <a:gd name="T69" fmla="*/ 177 h 892"/>
                <a:gd name="T70" fmla="*/ 1145 w 1740"/>
                <a:gd name="T71" fmla="*/ 228 h 892"/>
                <a:gd name="T72" fmla="*/ 1134 w 1740"/>
                <a:gd name="T73" fmla="*/ 245 h 892"/>
                <a:gd name="T74" fmla="*/ 1062 w 1740"/>
                <a:gd name="T75" fmla="*/ 301 h 892"/>
                <a:gd name="T76" fmla="*/ 1033 w 1740"/>
                <a:gd name="T77" fmla="*/ 364 h 892"/>
                <a:gd name="T78" fmla="*/ 1037 w 1740"/>
                <a:gd name="T79" fmla="*/ 447 h 892"/>
                <a:gd name="T80" fmla="*/ 1076 w 1740"/>
                <a:gd name="T81" fmla="*/ 513 h 892"/>
                <a:gd name="T82" fmla="*/ 1159 w 1740"/>
                <a:gd name="T83" fmla="*/ 564 h 892"/>
                <a:gd name="T84" fmla="*/ 1257 w 1740"/>
                <a:gd name="T85" fmla="*/ 570 h 892"/>
                <a:gd name="T86" fmla="*/ 1348 w 1740"/>
                <a:gd name="T87" fmla="*/ 527 h 892"/>
                <a:gd name="T88" fmla="*/ 1393 w 1740"/>
                <a:gd name="T89" fmla="*/ 470 h 892"/>
                <a:gd name="T90" fmla="*/ 1406 w 1740"/>
                <a:gd name="T91" fmla="*/ 386 h 892"/>
                <a:gd name="T92" fmla="*/ 1378 w 1740"/>
                <a:gd name="T93" fmla="*/ 310 h 892"/>
                <a:gd name="T94" fmla="*/ 1350 w 1740"/>
                <a:gd name="T95" fmla="*/ 270 h 892"/>
                <a:gd name="T96" fmla="*/ 1400 w 1740"/>
                <a:gd name="T97" fmla="*/ 234 h 892"/>
                <a:gd name="T98" fmla="*/ 1468 w 1740"/>
                <a:gd name="T99" fmla="*/ 228 h 892"/>
                <a:gd name="T100" fmla="*/ 1530 w 1740"/>
                <a:gd name="T101" fmla="*/ 261 h 892"/>
                <a:gd name="T102" fmla="*/ 1602 w 1740"/>
                <a:gd name="T103" fmla="*/ 232 h 892"/>
                <a:gd name="T104" fmla="*/ 1696 w 1740"/>
                <a:gd name="T105" fmla="*/ 181 h 892"/>
                <a:gd name="T106" fmla="*/ 1458 w 1740"/>
                <a:gd name="T107" fmla="*/ 812 h 892"/>
                <a:gd name="T108" fmla="*/ 1432 w 1740"/>
                <a:gd name="T109" fmla="*/ 892 h 892"/>
                <a:gd name="T110" fmla="*/ 946 w 1740"/>
                <a:gd name="T111" fmla="*/ 861 h 892"/>
                <a:gd name="T112" fmla="*/ 313 w 1740"/>
                <a:gd name="T113" fmla="*/ 892 h 892"/>
                <a:gd name="T114" fmla="*/ 280 w 1740"/>
                <a:gd name="T115" fmla="*/ 816 h 892"/>
                <a:gd name="T116" fmla="*/ 457 w 1740"/>
                <a:gd name="T117" fmla="*/ 790 h 892"/>
                <a:gd name="T118" fmla="*/ 914 w 1740"/>
                <a:gd name="T119" fmla="*/ 772 h 892"/>
                <a:gd name="T120" fmla="*/ 1449 w 1740"/>
                <a:gd name="T121" fmla="*/ 806 h 8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40" h="892">
                  <a:moveTo>
                    <a:pt x="1729" y="178"/>
                  </a:moveTo>
                  <a:lnTo>
                    <a:pt x="1734" y="179"/>
                  </a:lnTo>
                  <a:lnTo>
                    <a:pt x="1735" y="180"/>
                  </a:lnTo>
                  <a:lnTo>
                    <a:pt x="1737" y="181"/>
                  </a:lnTo>
                  <a:lnTo>
                    <a:pt x="1738" y="182"/>
                  </a:lnTo>
                  <a:lnTo>
                    <a:pt x="1739" y="184"/>
                  </a:lnTo>
                  <a:lnTo>
                    <a:pt x="1740" y="186"/>
                  </a:lnTo>
                  <a:lnTo>
                    <a:pt x="1740" y="188"/>
                  </a:lnTo>
                  <a:lnTo>
                    <a:pt x="1740" y="192"/>
                  </a:lnTo>
                  <a:lnTo>
                    <a:pt x="1738" y="194"/>
                  </a:lnTo>
                  <a:lnTo>
                    <a:pt x="1718" y="230"/>
                  </a:lnTo>
                  <a:lnTo>
                    <a:pt x="1698" y="266"/>
                  </a:lnTo>
                  <a:lnTo>
                    <a:pt x="1678" y="302"/>
                  </a:lnTo>
                  <a:lnTo>
                    <a:pt x="1659" y="338"/>
                  </a:lnTo>
                  <a:lnTo>
                    <a:pt x="1641" y="375"/>
                  </a:lnTo>
                  <a:lnTo>
                    <a:pt x="1624" y="411"/>
                  </a:lnTo>
                  <a:lnTo>
                    <a:pt x="1607" y="447"/>
                  </a:lnTo>
                  <a:lnTo>
                    <a:pt x="1591" y="483"/>
                  </a:lnTo>
                  <a:lnTo>
                    <a:pt x="1561" y="552"/>
                  </a:lnTo>
                  <a:lnTo>
                    <a:pt x="1534" y="618"/>
                  </a:lnTo>
                  <a:lnTo>
                    <a:pt x="1510" y="680"/>
                  </a:lnTo>
                  <a:lnTo>
                    <a:pt x="1489" y="736"/>
                  </a:lnTo>
                  <a:lnTo>
                    <a:pt x="1488" y="739"/>
                  </a:lnTo>
                  <a:lnTo>
                    <a:pt x="1485" y="741"/>
                  </a:lnTo>
                  <a:lnTo>
                    <a:pt x="1482" y="743"/>
                  </a:lnTo>
                  <a:lnTo>
                    <a:pt x="1479" y="743"/>
                  </a:lnTo>
                  <a:lnTo>
                    <a:pt x="1457" y="741"/>
                  </a:lnTo>
                  <a:lnTo>
                    <a:pt x="1412" y="736"/>
                  </a:lnTo>
                  <a:lnTo>
                    <a:pt x="1385" y="733"/>
                  </a:lnTo>
                  <a:lnTo>
                    <a:pt x="1356" y="730"/>
                  </a:lnTo>
                  <a:lnTo>
                    <a:pt x="1324" y="727"/>
                  </a:lnTo>
                  <a:lnTo>
                    <a:pt x="1289" y="724"/>
                  </a:lnTo>
                  <a:lnTo>
                    <a:pt x="1214" y="718"/>
                  </a:lnTo>
                  <a:lnTo>
                    <a:pt x="1133" y="713"/>
                  </a:lnTo>
                  <a:lnTo>
                    <a:pt x="1090" y="711"/>
                  </a:lnTo>
                  <a:lnTo>
                    <a:pt x="1047" y="709"/>
                  </a:lnTo>
                  <a:lnTo>
                    <a:pt x="1003" y="708"/>
                  </a:lnTo>
                  <a:lnTo>
                    <a:pt x="959" y="707"/>
                  </a:lnTo>
                  <a:lnTo>
                    <a:pt x="915" y="706"/>
                  </a:lnTo>
                  <a:lnTo>
                    <a:pt x="871" y="706"/>
                  </a:lnTo>
                  <a:lnTo>
                    <a:pt x="826" y="706"/>
                  </a:lnTo>
                  <a:lnTo>
                    <a:pt x="782" y="707"/>
                  </a:lnTo>
                  <a:lnTo>
                    <a:pt x="738" y="708"/>
                  </a:lnTo>
                  <a:lnTo>
                    <a:pt x="693" y="709"/>
                  </a:lnTo>
                  <a:lnTo>
                    <a:pt x="607" y="713"/>
                  </a:lnTo>
                  <a:lnTo>
                    <a:pt x="526" y="718"/>
                  </a:lnTo>
                  <a:lnTo>
                    <a:pt x="488" y="721"/>
                  </a:lnTo>
                  <a:lnTo>
                    <a:pt x="451" y="724"/>
                  </a:lnTo>
                  <a:lnTo>
                    <a:pt x="384" y="730"/>
                  </a:lnTo>
                  <a:lnTo>
                    <a:pt x="328" y="736"/>
                  </a:lnTo>
                  <a:lnTo>
                    <a:pt x="284" y="741"/>
                  </a:lnTo>
                  <a:lnTo>
                    <a:pt x="263" y="743"/>
                  </a:lnTo>
                  <a:lnTo>
                    <a:pt x="259" y="743"/>
                  </a:lnTo>
                  <a:lnTo>
                    <a:pt x="257" y="742"/>
                  </a:lnTo>
                  <a:lnTo>
                    <a:pt x="255" y="741"/>
                  </a:lnTo>
                  <a:lnTo>
                    <a:pt x="254" y="740"/>
                  </a:lnTo>
                  <a:lnTo>
                    <a:pt x="253" y="739"/>
                  </a:lnTo>
                  <a:lnTo>
                    <a:pt x="251" y="736"/>
                  </a:lnTo>
                  <a:lnTo>
                    <a:pt x="230" y="680"/>
                  </a:lnTo>
                  <a:lnTo>
                    <a:pt x="206" y="618"/>
                  </a:lnTo>
                  <a:lnTo>
                    <a:pt x="179" y="552"/>
                  </a:lnTo>
                  <a:lnTo>
                    <a:pt x="164" y="518"/>
                  </a:lnTo>
                  <a:lnTo>
                    <a:pt x="149" y="483"/>
                  </a:lnTo>
                  <a:lnTo>
                    <a:pt x="116" y="411"/>
                  </a:lnTo>
                  <a:lnTo>
                    <a:pt x="99" y="374"/>
                  </a:lnTo>
                  <a:lnTo>
                    <a:pt x="81" y="338"/>
                  </a:lnTo>
                  <a:lnTo>
                    <a:pt x="62" y="302"/>
                  </a:lnTo>
                  <a:lnTo>
                    <a:pt x="42" y="266"/>
                  </a:lnTo>
                  <a:lnTo>
                    <a:pt x="22" y="230"/>
                  </a:lnTo>
                  <a:lnTo>
                    <a:pt x="2" y="194"/>
                  </a:lnTo>
                  <a:lnTo>
                    <a:pt x="1" y="191"/>
                  </a:lnTo>
                  <a:lnTo>
                    <a:pt x="0" y="189"/>
                  </a:lnTo>
                  <a:lnTo>
                    <a:pt x="0" y="186"/>
                  </a:lnTo>
                  <a:lnTo>
                    <a:pt x="2" y="183"/>
                  </a:lnTo>
                  <a:lnTo>
                    <a:pt x="3" y="181"/>
                  </a:lnTo>
                  <a:lnTo>
                    <a:pt x="6" y="179"/>
                  </a:lnTo>
                  <a:lnTo>
                    <a:pt x="8" y="178"/>
                  </a:lnTo>
                  <a:lnTo>
                    <a:pt x="11" y="178"/>
                  </a:lnTo>
                  <a:lnTo>
                    <a:pt x="19" y="178"/>
                  </a:lnTo>
                  <a:lnTo>
                    <a:pt x="28" y="179"/>
                  </a:lnTo>
                  <a:lnTo>
                    <a:pt x="36" y="180"/>
                  </a:lnTo>
                  <a:lnTo>
                    <a:pt x="44" y="181"/>
                  </a:lnTo>
                  <a:lnTo>
                    <a:pt x="52" y="183"/>
                  </a:lnTo>
                  <a:lnTo>
                    <a:pt x="59" y="186"/>
                  </a:lnTo>
                  <a:lnTo>
                    <a:pt x="74" y="191"/>
                  </a:lnTo>
                  <a:lnTo>
                    <a:pt x="82" y="194"/>
                  </a:lnTo>
                  <a:lnTo>
                    <a:pt x="89" y="198"/>
                  </a:lnTo>
                  <a:lnTo>
                    <a:pt x="102" y="205"/>
                  </a:lnTo>
                  <a:lnTo>
                    <a:pt x="115" y="214"/>
                  </a:lnTo>
                  <a:lnTo>
                    <a:pt x="121" y="218"/>
                  </a:lnTo>
                  <a:lnTo>
                    <a:pt x="127" y="223"/>
                  </a:lnTo>
                  <a:lnTo>
                    <a:pt x="133" y="227"/>
                  </a:lnTo>
                  <a:lnTo>
                    <a:pt x="138" y="232"/>
                  </a:lnTo>
                  <a:lnTo>
                    <a:pt x="149" y="241"/>
                  </a:lnTo>
                  <a:lnTo>
                    <a:pt x="167" y="259"/>
                  </a:lnTo>
                  <a:lnTo>
                    <a:pt x="174" y="267"/>
                  </a:lnTo>
                  <a:lnTo>
                    <a:pt x="181" y="275"/>
                  </a:lnTo>
                  <a:lnTo>
                    <a:pt x="190" y="287"/>
                  </a:lnTo>
                  <a:lnTo>
                    <a:pt x="194" y="280"/>
                  </a:lnTo>
                  <a:lnTo>
                    <a:pt x="199" y="273"/>
                  </a:lnTo>
                  <a:lnTo>
                    <a:pt x="204" y="267"/>
                  </a:lnTo>
                  <a:lnTo>
                    <a:pt x="210" y="261"/>
                  </a:lnTo>
                  <a:lnTo>
                    <a:pt x="216" y="256"/>
                  </a:lnTo>
                  <a:lnTo>
                    <a:pt x="222" y="251"/>
                  </a:lnTo>
                  <a:lnTo>
                    <a:pt x="228" y="246"/>
                  </a:lnTo>
                  <a:lnTo>
                    <a:pt x="235" y="242"/>
                  </a:lnTo>
                  <a:lnTo>
                    <a:pt x="242" y="238"/>
                  </a:lnTo>
                  <a:lnTo>
                    <a:pt x="249" y="235"/>
                  </a:lnTo>
                  <a:lnTo>
                    <a:pt x="264" y="230"/>
                  </a:lnTo>
                  <a:lnTo>
                    <a:pt x="272" y="228"/>
                  </a:lnTo>
                  <a:lnTo>
                    <a:pt x="280" y="227"/>
                  </a:lnTo>
                  <a:lnTo>
                    <a:pt x="288" y="226"/>
                  </a:lnTo>
                  <a:lnTo>
                    <a:pt x="296" y="226"/>
                  </a:lnTo>
                  <a:lnTo>
                    <a:pt x="309" y="226"/>
                  </a:lnTo>
                  <a:lnTo>
                    <a:pt x="316" y="227"/>
                  </a:lnTo>
                  <a:lnTo>
                    <a:pt x="322" y="228"/>
                  </a:lnTo>
                  <a:lnTo>
                    <a:pt x="335" y="232"/>
                  </a:lnTo>
                  <a:lnTo>
                    <a:pt x="346" y="236"/>
                  </a:lnTo>
                  <a:lnTo>
                    <a:pt x="358" y="242"/>
                  </a:lnTo>
                  <a:lnTo>
                    <a:pt x="368" y="249"/>
                  </a:lnTo>
                  <a:lnTo>
                    <a:pt x="374" y="253"/>
                  </a:lnTo>
                  <a:lnTo>
                    <a:pt x="378" y="257"/>
                  </a:lnTo>
                  <a:lnTo>
                    <a:pt x="388" y="266"/>
                  </a:lnTo>
                  <a:lnTo>
                    <a:pt x="389" y="268"/>
                  </a:lnTo>
                  <a:lnTo>
                    <a:pt x="390" y="270"/>
                  </a:lnTo>
                  <a:lnTo>
                    <a:pt x="390" y="272"/>
                  </a:lnTo>
                  <a:lnTo>
                    <a:pt x="390" y="274"/>
                  </a:lnTo>
                  <a:lnTo>
                    <a:pt x="390" y="276"/>
                  </a:lnTo>
                  <a:lnTo>
                    <a:pt x="389" y="278"/>
                  </a:lnTo>
                  <a:lnTo>
                    <a:pt x="388" y="280"/>
                  </a:lnTo>
                  <a:lnTo>
                    <a:pt x="387" y="281"/>
                  </a:lnTo>
                  <a:lnTo>
                    <a:pt x="380" y="288"/>
                  </a:lnTo>
                  <a:lnTo>
                    <a:pt x="374" y="295"/>
                  </a:lnTo>
                  <a:lnTo>
                    <a:pt x="368" y="303"/>
                  </a:lnTo>
                  <a:lnTo>
                    <a:pt x="362" y="310"/>
                  </a:lnTo>
                  <a:lnTo>
                    <a:pt x="357" y="318"/>
                  </a:lnTo>
                  <a:lnTo>
                    <a:pt x="353" y="326"/>
                  </a:lnTo>
                  <a:lnTo>
                    <a:pt x="349" y="334"/>
                  </a:lnTo>
                  <a:lnTo>
                    <a:pt x="345" y="342"/>
                  </a:lnTo>
                  <a:lnTo>
                    <a:pt x="342" y="351"/>
                  </a:lnTo>
                  <a:lnTo>
                    <a:pt x="339" y="360"/>
                  </a:lnTo>
                  <a:lnTo>
                    <a:pt x="337" y="368"/>
                  </a:lnTo>
                  <a:lnTo>
                    <a:pt x="335" y="377"/>
                  </a:lnTo>
                  <a:lnTo>
                    <a:pt x="334" y="386"/>
                  </a:lnTo>
                  <a:lnTo>
                    <a:pt x="333" y="395"/>
                  </a:lnTo>
                  <a:lnTo>
                    <a:pt x="333" y="404"/>
                  </a:lnTo>
                  <a:lnTo>
                    <a:pt x="333" y="414"/>
                  </a:lnTo>
                  <a:lnTo>
                    <a:pt x="334" y="422"/>
                  </a:lnTo>
                  <a:lnTo>
                    <a:pt x="335" y="430"/>
                  </a:lnTo>
                  <a:lnTo>
                    <a:pt x="337" y="438"/>
                  </a:lnTo>
                  <a:lnTo>
                    <a:pt x="339" y="446"/>
                  </a:lnTo>
                  <a:lnTo>
                    <a:pt x="342" y="454"/>
                  </a:lnTo>
                  <a:lnTo>
                    <a:pt x="344" y="462"/>
                  </a:lnTo>
                  <a:lnTo>
                    <a:pt x="348" y="470"/>
                  </a:lnTo>
                  <a:lnTo>
                    <a:pt x="351" y="477"/>
                  </a:lnTo>
                  <a:lnTo>
                    <a:pt x="355" y="484"/>
                  </a:lnTo>
                  <a:lnTo>
                    <a:pt x="360" y="491"/>
                  </a:lnTo>
                  <a:lnTo>
                    <a:pt x="369" y="504"/>
                  </a:lnTo>
                  <a:lnTo>
                    <a:pt x="380" y="516"/>
                  </a:lnTo>
                  <a:lnTo>
                    <a:pt x="386" y="522"/>
                  </a:lnTo>
                  <a:lnTo>
                    <a:pt x="392" y="527"/>
                  </a:lnTo>
                  <a:lnTo>
                    <a:pt x="405" y="538"/>
                  </a:lnTo>
                  <a:lnTo>
                    <a:pt x="412" y="542"/>
                  </a:lnTo>
                  <a:lnTo>
                    <a:pt x="419" y="547"/>
                  </a:lnTo>
                  <a:lnTo>
                    <a:pt x="434" y="555"/>
                  </a:lnTo>
                  <a:lnTo>
                    <a:pt x="442" y="558"/>
                  </a:lnTo>
                  <a:lnTo>
                    <a:pt x="450" y="561"/>
                  </a:lnTo>
                  <a:lnTo>
                    <a:pt x="466" y="566"/>
                  </a:lnTo>
                  <a:lnTo>
                    <a:pt x="475" y="569"/>
                  </a:lnTo>
                  <a:lnTo>
                    <a:pt x="484" y="570"/>
                  </a:lnTo>
                  <a:lnTo>
                    <a:pt x="492" y="572"/>
                  </a:lnTo>
                  <a:lnTo>
                    <a:pt x="501" y="573"/>
                  </a:lnTo>
                  <a:lnTo>
                    <a:pt x="519" y="573"/>
                  </a:lnTo>
                  <a:lnTo>
                    <a:pt x="534" y="573"/>
                  </a:lnTo>
                  <a:lnTo>
                    <a:pt x="544" y="572"/>
                  </a:lnTo>
                  <a:lnTo>
                    <a:pt x="553" y="571"/>
                  </a:lnTo>
                  <a:lnTo>
                    <a:pt x="563" y="569"/>
                  </a:lnTo>
                  <a:lnTo>
                    <a:pt x="572" y="567"/>
                  </a:lnTo>
                  <a:lnTo>
                    <a:pt x="581" y="564"/>
                  </a:lnTo>
                  <a:lnTo>
                    <a:pt x="590" y="561"/>
                  </a:lnTo>
                  <a:lnTo>
                    <a:pt x="598" y="558"/>
                  </a:lnTo>
                  <a:lnTo>
                    <a:pt x="607" y="554"/>
                  </a:lnTo>
                  <a:lnTo>
                    <a:pt x="615" y="550"/>
                  </a:lnTo>
                  <a:lnTo>
                    <a:pt x="623" y="546"/>
                  </a:lnTo>
                  <a:lnTo>
                    <a:pt x="630" y="541"/>
                  </a:lnTo>
                  <a:lnTo>
                    <a:pt x="637" y="536"/>
                  </a:lnTo>
                  <a:lnTo>
                    <a:pt x="645" y="531"/>
                  </a:lnTo>
                  <a:lnTo>
                    <a:pt x="651" y="525"/>
                  </a:lnTo>
                  <a:lnTo>
                    <a:pt x="658" y="519"/>
                  </a:lnTo>
                  <a:lnTo>
                    <a:pt x="664" y="513"/>
                  </a:lnTo>
                  <a:lnTo>
                    <a:pt x="670" y="507"/>
                  </a:lnTo>
                  <a:lnTo>
                    <a:pt x="675" y="500"/>
                  </a:lnTo>
                  <a:lnTo>
                    <a:pt x="685" y="486"/>
                  </a:lnTo>
                  <a:lnTo>
                    <a:pt x="690" y="479"/>
                  </a:lnTo>
                  <a:lnTo>
                    <a:pt x="694" y="471"/>
                  </a:lnTo>
                  <a:lnTo>
                    <a:pt x="701" y="455"/>
                  </a:lnTo>
                  <a:lnTo>
                    <a:pt x="703" y="447"/>
                  </a:lnTo>
                  <a:lnTo>
                    <a:pt x="706" y="439"/>
                  </a:lnTo>
                  <a:lnTo>
                    <a:pt x="708" y="430"/>
                  </a:lnTo>
                  <a:lnTo>
                    <a:pt x="709" y="422"/>
                  </a:lnTo>
                  <a:lnTo>
                    <a:pt x="710" y="413"/>
                  </a:lnTo>
                  <a:lnTo>
                    <a:pt x="711" y="405"/>
                  </a:lnTo>
                  <a:lnTo>
                    <a:pt x="711" y="396"/>
                  </a:lnTo>
                  <a:lnTo>
                    <a:pt x="711" y="387"/>
                  </a:lnTo>
                  <a:lnTo>
                    <a:pt x="709" y="375"/>
                  </a:lnTo>
                  <a:lnTo>
                    <a:pt x="707" y="364"/>
                  </a:lnTo>
                  <a:lnTo>
                    <a:pt x="704" y="352"/>
                  </a:lnTo>
                  <a:lnTo>
                    <a:pt x="701" y="341"/>
                  </a:lnTo>
                  <a:lnTo>
                    <a:pt x="696" y="331"/>
                  </a:lnTo>
                  <a:lnTo>
                    <a:pt x="691" y="320"/>
                  </a:lnTo>
                  <a:lnTo>
                    <a:pt x="685" y="310"/>
                  </a:lnTo>
                  <a:lnTo>
                    <a:pt x="678" y="301"/>
                  </a:lnTo>
                  <a:lnTo>
                    <a:pt x="674" y="296"/>
                  </a:lnTo>
                  <a:lnTo>
                    <a:pt x="670" y="292"/>
                  </a:lnTo>
                  <a:lnTo>
                    <a:pt x="662" y="283"/>
                  </a:lnTo>
                  <a:lnTo>
                    <a:pt x="653" y="275"/>
                  </a:lnTo>
                  <a:lnTo>
                    <a:pt x="649" y="271"/>
                  </a:lnTo>
                  <a:lnTo>
                    <a:pt x="644" y="267"/>
                  </a:lnTo>
                  <a:lnTo>
                    <a:pt x="634" y="260"/>
                  </a:lnTo>
                  <a:lnTo>
                    <a:pt x="624" y="254"/>
                  </a:lnTo>
                  <a:lnTo>
                    <a:pt x="612" y="248"/>
                  </a:lnTo>
                  <a:lnTo>
                    <a:pt x="601" y="243"/>
                  </a:lnTo>
                  <a:lnTo>
                    <a:pt x="599" y="242"/>
                  </a:lnTo>
                  <a:lnTo>
                    <a:pt x="597" y="240"/>
                  </a:lnTo>
                  <a:lnTo>
                    <a:pt x="596" y="239"/>
                  </a:lnTo>
                  <a:lnTo>
                    <a:pt x="595" y="237"/>
                  </a:lnTo>
                  <a:lnTo>
                    <a:pt x="594" y="234"/>
                  </a:lnTo>
                  <a:lnTo>
                    <a:pt x="594" y="232"/>
                  </a:lnTo>
                  <a:lnTo>
                    <a:pt x="595" y="230"/>
                  </a:lnTo>
                  <a:lnTo>
                    <a:pt x="595" y="228"/>
                  </a:lnTo>
                  <a:lnTo>
                    <a:pt x="600" y="221"/>
                  </a:lnTo>
                  <a:lnTo>
                    <a:pt x="604" y="214"/>
                  </a:lnTo>
                  <a:lnTo>
                    <a:pt x="610" y="207"/>
                  </a:lnTo>
                  <a:lnTo>
                    <a:pt x="615" y="201"/>
                  </a:lnTo>
                  <a:lnTo>
                    <a:pt x="621" y="196"/>
                  </a:lnTo>
                  <a:lnTo>
                    <a:pt x="627" y="190"/>
                  </a:lnTo>
                  <a:lnTo>
                    <a:pt x="634" y="186"/>
                  </a:lnTo>
                  <a:lnTo>
                    <a:pt x="641" y="181"/>
                  </a:lnTo>
                  <a:lnTo>
                    <a:pt x="648" y="177"/>
                  </a:lnTo>
                  <a:lnTo>
                    <a:pt x="655" y="174"/>
                  </a:lnTo>
                  <a:lnTo>
                    <a:pt x="663" y="171"/>
                  </a:lnTo>
                  <a:lnTo>
                    <a:pt x="670" y="169"/>
                  </a:lnTo>
                  <a:lnTo>
                    <a:pt x="678" y="167"/>
                  </a:lnTo>
                  <a:lnTo>
                    <a:pt x="686" y="165"/>
                  </a:lnTo>
                  <a:lnTo>
                    <a:pt x="695" y="164"/>
                  </a:lnTo>
                  <a:lnTo>
                    <a:pt x="703" y="164"/>
                  </a:lnTo>
                  <a:lnTo>
                    <a:pt x="713" y="165"/>
                  </a:lnTo>
                  <a:lnTo>
                    <a:pt x="722" y="166"/>
                  </a:lnTo>
                  <a:lnTo>
                    <a:pt x="733" y="168"/>
                  </a:lnTo>
                  <a:lnTo>
                    <a:pt x="742" y="170"/>
                  </a:lnTo>
                  <a:lnTo>
                    <a:pt x="751" y="174"/>
                  </a:lnTo>
                  <a:lnTo>
                    <a:pt x="760" y="178"/>
                  </a:lnTo>
                  <a:lnTo>
                    <a:pt x="768" y="182"/>
                  </a:lnTo>
                  <a:lnTo>
                    <a:pt x="776" y="188"/>
                  </a:lnTo>
                  <a:lnTo>
                    <a:pt x="777" y="173"/>
                  </a:lnTo>
                  <a:lnTo>
                    <a:pt x="778" y="163"/>
                  </a:lnTo>
                  <a:lnTo>
                    <a:pt x="779" y="152"/>
                  </a:lnTo>
                  <a:lnTo>
                    <a:pt x="781" y="140"/>
                  </a:lnTo>
                  <a:lnTo>
                    <a:pt x="783" y="127"/>
                  </a:lnTo>
                  <a:lnTo>
                    <a:pt x="786" y="114"/>
                  </a:lnTo>
                  <a:lnTo>
                    <a:pt x="790" y="100"/>
                  </a:lnTo>
                  <a:lnTo>
                    <a:pt x="795" y="86"/>
                  </a:lnTo>
                  <a:lnTo>
                    <a:pt x="798" y="79"/>
                  </a:lnTo>
                  <a:lnTo>
                    <a:pt x="801" y="72"/>
                  </a:lnTo>
                  <a:lnTo>
                    <a:pt x="805" y="66"/>
                  </a:lnTo>
                  <a:lnTo>
                    <a:pt x="808" y="59"/>
                  </a:lnTo>
                  <a:lnTo>
                    <a:pt x="812" y="52"/>
                  </a:lnTo>
                  <a:lnTo>
                    <a:pt x="815" y="49"/>
                  </a:lnTo>
                  <a:lnTo>
                    <a:pt x="817" y="46"/>
                  </a:lnTo>
                  <a:lnTo>
                    <a:pt x="822" y="39"/>
                  </a:lnTo>
                  <a:lnTo>
                    <a:pt x="827" y="33"/>
                  </a:lnTo>
                  <a:lnTo>
                    <a:pt x="832" y="27"/>
                  </a:lnTo>
                  <a:lnTo>
                    <a:pt x="838" y="21"/>
                  </a:lnTo>
                  <a:lnTo>
                    <a:pt x="844" y="16"/>
                  </a:lnTo>
                  <a:lnTo>
                    <a:pt x="851" y="11"/>
                  </a:lnTo>
                  <a:lnTo>
                    <a:pt x="858" y="6"/>
                  </a:lnTo>
                  <a:lnTo>
                    <a:pt x="865" y="1"/>
                  </a:lnTo>
                  <a:lnTo>
                    <a:pt x="868" y="0"/>
                  </a:lnTo>
                  <a:lnTo>
                    <a:pt x="871" y="0"/>
                  </a:lnTo>
                  <a:lnTo>
                    <a:pt x="873" y="0"/>
                  </a:lnTo>
                  <a:lnTo>
                    <a:pt x="876" y="1"/>
                  </a:lnTo>
                  <a:lnTo>
                    <a:pt x="883" y="6"/>
                  </a:lnTo>
                  <a:lnTo>
                    <a:pt x="891" y="11"/>
                  </a:lnTo>
                  <a:lnTo>
                    <a:pt x="897" y="16"/>
                  </a:lnTo>
                  <a:lnTo>
                    <a:pt x="903" y="21"/>
                  </a:lnTo>
                  <a:lnTo>
                    <a:pt x="909" y="27"/>
                  </a:lnTo>
                  <a:lnTo>
                    <a:pt x="915" y="33"/>
                  </a:lnTo>
                  <a:lnTo>
                    <a:pt x="920" y="39"/>
                  </a:lnTo>
                  <a:lnTo>
                    <a:pt x="924" y="46"/>
                  </a:lnTo>
                  <a:lnTo>
                    <a:pt x="933" y="59"/>
                  </a:lnTo>
                  <a:lnTo>
                    <a:pt x="940" y="72"/>
                  </a:lnTo>
                  <a:lnTo>
                    <a:pt x="946" y="86"/>
                  </a:lnTo>
                  <a:lnTo>
                    <a:pt x="951" y="100"/>
                  </a:lnTo>
                  <a:lnTo>
                    <a:pt x="955" y="114"/>
                  </a:lnTo>
                  <a:lnTo>
                    <a:pt x="958" y="127"/>
                  </a:lnTo>
                  <a:lnTo>
                    <a:pt x="961" y="140"/>
                  </a:lnTo>
                  <a:lnTo>
                    <a:pt x="962" y="152"/>
                  </a:lnTo>
                  <a:lnTo>
                    <a:pt x="964" y="173"/>
                  </a:lnTo>
                  <a:lnTo>
                    <a:pt x="965" y="188"/>
                  </a:lnTo>
                  <a:lnTo>
                    <a:pt x="973" y="182"/>
                  </a:lnTo>
                  <a:lnTo>
                    <a:pt x="981" y="178"/>
                  </a:lnTo>
                  <a:lnTo>
                    <a:pt x="990" y="174"/>
                  </a:lnTo>
                  <a:lnTo>
                    <a:pt x="999" y="170"/>
                  </a:lnTo>
                  <a:lnTo>
                    <a:pt x="1008" y="168"/>
                  </a:lnTo>
                  <a:lnTo>
                    <a:pt x="1018" y="166"/>
                  </a:lnTo>
                  <a:lnTo>
                    <a:pt x="1027" y="165"/>
                  </a:lnTo>
                  <a:lnTo>
                    <a:pt x="1037" y="164"/>
                  </a:lnTo>
                  <a:lnTo>
                    <a:pt x="1046" y="164"/>
                  </a:lnTo>
                  <a:lnTo>
                    <a:pt x="1054" y="165"/>
                  </a:lnTo>
                  <a:lnTo>
                    <a:pt x="1058" y="166"/>
                  </a:lnTo>
                  <a:lnTo>
                    <a:pt x="1062" y="167"/>
                  </a:lnTo>
                  <a:lnTo>
                    <a:pt x="1070" y="169"/>
                  </a:lnTo>
                  <a:lnTo>
                    <a:pt x="1078" y="171"/>
                  </a:lnTo>
                  <a:lnTo>
                    <a:pt x="1085" y="174"/>
                  </a:lnTo>
                  <a:lnTo>
                    <a:pt x="1093" y="177"/>
                  </a:lnTo>
                  <a:lnTo>
                    <a:pt x="1100" y="181"/>
                  </a:lnTo>
                  <a:lnTo>
                    <a:pt x="1107" y="186"/>
                  </a:lnTo>
                  <a:lnTo>
                    <a:pt x="1113" y="190"/>
                  </a:lnTo>
                  <a:lnTo>
                    <a:pt x="1119" y="196"/>
                  </a:lnTo>
                  <a:lnTo>
                    <a:pt x="1125" y="201"/>
                  </a:lnTo>
                  <a:lnTo>
                    <a:pt x="1131" y="207"/>
                  </a:lnTo>
                  <a:lnTo>
                    <a:pt x="1136" y="214"/>
                  </a:lnTo>
                  <a:lnTo>
                    <a:pt x="1141" y="221"/>
                  </a:lnTo>
                  <a:lnTo>
                    <a:pt x="1145" y="228"/>
                  </a:lnTo>
                  <a:lnTo>
                    <a:pt x="1146" y="230"/>
                  </a:lnTo>
                  <a:lnTo>
                    <a:pt x="1146" y="232"/>
                  </a:lnTo>
                  <a:lnTo>
                    <a:pt x="1146" y="234"/>
                  </a:lnTo>
                  <a:lnTo>
                    <a:pt x="1146" y="237"/>
                  </a:lnTo>
                  <a:lnTo>
                    <a:pt x="1145" y="239"/>
                  </a:lnTo>
                  <a:lnTo>
                    <a:pt x="1143" y="240"/>
                  </a:lnTo>
                  <a:lnTo>
                    <a:pt x="1141" y="242"/>
                  </a:lnTo>
                  <a:lnTo>
                    <a:pt x="1139" y="243"/>
                  </a:lnTo>
                  <a:lnTo>
                    <a:pt x="1134" y="245"/>
                  </a:lnTo>
                  <a:lnTo>
                    <a:pt x="1128" y="248"/>
                  </a:lnTo>
                  <a:lnTo>
                    <a:pt x="1117" y="254"/>
                  </a:lnTo>
                  <a:lnTo>
                    <a:pt x="1106" y="260"/>
                  </a:lnTo>
                  <a:lnTo>
                    <a:pt x="1096" y="267"/>
                  </a:lnTo>
                  <a:lnTo>
                    <a:pt x="1087" y="275"/>
                  </a:lnTo>
                  <a:lnTo>
                    <a:pt x="1082" y="279"/>
                  </a:lnTo>
                  <a:lnTo>
                    <a:pt x="1078" y="283"/>
                  </a:lnTo>
                  <a:lnTo>
                    <a:pt x="1070" y="292"/>
                  </a:lnTo>
                  <a:lnTo>
                    <a:pt x="1062" y="301"/>
                  </a:lnTo>
                  <a:lnTo>
                    <a:pt x="1056" y="310"/>
                  </a:lnTo>
                  <a:lnTo>
                    <a:pt x="1053" y="315"/>
                  </a:lnTo>
                  <a:lnTo>
                    <a:pt x="1050" y="320"/>
                  </a:lnTo>
                  <a:lnTo>
                    <a:pt x="1044" y="331"/>
                  </a:lnTo>
                  <a:lnTo>
                    <a:pt x="1042" y="336"/>
                  </a:lnTo>
                  <a:lnTo>
                    <a:pt x="1040" y="341"/>
                  </a:lnTo>
                  <a:lnTo>
                    <a:pt x="1038" y="347"/>
                  </a:lnTo>
                  <a:lnTo>
                    <a:pt x="1036" y="352"/>
                  </a:lnTo>
                  <a:lnTo>
                    <a:pt x="1033" y="364"/>
                  </a:lnTo>
                  <a:lnTo>
                    <a:pt x="1031" y="375"/>
                  </a:lnTo>
                  <a:lnTo>
                    <a:pt x="1030" y="387"/>
                  </a:lnTo>
                  <a:lnTo>
                    <a:pt x="1029" y="396"/>
                  </a:lnTo>
                  <a:lnTo>
                    <a:pt x="1029" y="405"/>
                  </a:lnTo>
                  <a:lnTo>
                    <a:pt x="1030" y="413"/>
                  </a:lnTo>
                  <a:lnTo>
                    <a:pt x="1031" y="422"/>
                  </a:lnTo>
                  <a:lnTo>
                    <a:pt x="1032" y="430"/>
                  </a:lnTo>
                  <a:lnTo>
                    <a:pt x="1034" y="439"/>
                  </a:lnTo>
                  <a:lnTo>
                    <a:pt x="1037" y="447"/>
                  </a:lnTo>
                  <a:lnTo>
                    <a:pt x="1040" y="455"/>
                  </a:lnTo>
                  <a:lnTo>
                    <a:pt x="1043" y="464"/>
                  </a:lnTo>
                  <a:lnTo>
                    <a:pt x="1047" y="471"/>
                  </a:lnTo>
                  <a:lnTo>
                    <a:pt x="1051" y="479"/>
                  </a:lnTo>
                  <a:lnTo>
                    <a:pt x="1055" y="486"/>
                  </a:lnTo>
                  <a:lnTo>
                    <a:pt x="1060" y="493"/>
                  </a:lnTo>
                  <a:lnTo>
                    <a:pt x="1065" y="500"/>
                  </a:lnTo>
                  <a:lnTo>
                    <a:pt x="1070" y="507"/>
                  </a:lnTo>
                  <a:lnTo>
                    <a:pt x="1076" y="513"/>
                  </a:lnTo>
                  <a:lnTo>
                    <a:pt x="1082" y="519"/>
                  </a:lnTo>
                  <a:lnTo>
                    <a:pt x="1089" y="525"/>
                  </a:lnTo>
                  <a:lnTo>
                    <a:pt x="1103" y="536"/>
                  </a:lnTo>
                  <a:lnTo>
                    <a:pt x="1110" y="541"/>
                  </a:lnTo>
                  <a:lnTo>
                    <a:pt x="1118" y="546"/>
                  </a:lnTo>
                  <a:lnTo>
                    <a:pt x="1134" y="554"/>
                  </a:lnTo>
                  <a:lnTo>
                    <a:pt x="1142" y="558"/>
                  </a:lnTo>
                  <a:lnTo>
                    <a:pt x="1151" y="561"/>
                  </a:lnTo>
                  <a:lnTo>
                    <a:pt x="1159" y="564"/>
                  </a:lnTo>
                  <a:lnTo>
                    <a:pt x="1168" y="567"/>
                  </a:lnTo>
                  <a:lnTo>
                    <a:pt x="1178" y="569"/>
                  </a:lnTo>
                  <a:lnTo>
                    <a:pt x="1187" y="571"/>
                  </a:lnTo>
                  <a:lnTo>
                    <a:pt x="1196" y="572"/>
                  </a:lnTo>
                  <a:lnTo>
                    <a:pt x="1206" y="573"/>
                  </a:lnTo>
                  <a:lnTo>
                    <a:pt x="1221" y="573"/>
                  </a:lnTo>
                  <a:lnTo>
                    <a:pt x="1239" y="573"/>
                  </a:lnTo>
                  <a:lnTo>
                    <a:pt x="1248" y="572"/>
                  </a:lnTo>
                  <a:lnTo>
                    <a:pt x="1257" y="570"/>
                  </a:lnTo>
                  <a:lnTo>
                    <a:pt x="1274" y="566"/>
                  </a:lnTo>
                  <a:lnTo>
                    <a:pt x="1290" y="561"/>
                  </a:lnTo>
                  <a:lnTo>
                    <a:pt x="1306" y="555"/>
                  </a:lnTo>
                  <a:lnTo>
                    <a:pt x="1314" y="551"/>
                  </a:lnTo>
                  <a:lnTo>
                    <a:pt x="1321" y="547"/>
                  </a:lnTo>
                  <a:lnTo>
                    <a:pt x="1328" y="542"/>
                  </a:lnTo>
                  <a:lnTo>
                    <a:pt x="1335" y="538"/>
                  </a:lnTo>
                  <a:lnTo>
                    <a:pt x="1342" y="533"/>
                  </a:lnTo>
                  <a:lnTo>
                    <a:pt x="1348" y="527"/>
                  </a:lnTo>
                  <a:lnTo>
                    <a:pt x="1354" y="522"/>
                  </a:lnTo>
                  <a:lnTo>
                    <a:pt x="1360" y="516"/>
                  </a:lnTo>
                  <a:lnTo>
                    <a:pt x="1366" y="510"/>
                  </a:lnTo>
                  <a:lnTo>
                    <a:pt x="1371" y="504"/>
                  </a:lnTo>
                  <a:lnTo>
                    <a:pt x="1376" y="498"/>
                  </a:lnTo>
                  <a:lnTo>
                    <a:pt x="1381" y="491"/>
                  </a:lnTo>
                  <a:lnTo>
                    <a:pt x="1385" y="484"/>
                  </a:lnTo>
                  <a:lnTo>
                    <a:pt x="1389" y="477"/>
                  </a:lnTo>
                  <a:lnTo>
                    <a:pt x="1393" y="470"/>
                  </a:lnTo>
                  <a:lnTo>
                    <a:pt x="1396" y="462"/>
                  </a:lnTo>
                  <a:lnTo>
                    <a:pt x="1401" y="446"/>
                  </a:lnTo>
                  <a:lnTo>
                    <a:pt x="1403" y="438"/>
                  </a:lnTo>
                  <a:lnTo>
                    <a:pt x="1405" y="430"/>
                  </a:lnTo>
                  <a:lnTo>
                    <a:pt x="1406" y="422"/>
                  </a:lnTo>
                  <a:lnTo>
                    <a:pt x="1407" y="414"/>
                  </a:lnTo>
                  <a:lnTo>
                    <a:pt x="1407" y="404"/>
                  </a:lnTo>
                  <a:lnTo>
                    <a:pt x="1407" y="395"/>
                  </a:lnTo>
                  <a:lnTo>
                    <a:pt x="1406" y="386"/>
                  </a:lnTo>
                  <a:lnTo>
                    <a:pt x="1405" y="377"/>
                  </a:lnTo>
                  <a:lnTo>
                    <a:pt x="1404" y="368"/>
                  </a:lnTo>
                  <a:lnTo>
                    <a:pt x="1401" y="360"/>
                  </a:lnTo>
                  <a:lnTo>
                    <a:pt x="1399" y="351"/>
                  </a:lnTo>
                  <a:lnTo>
                    <a:pt x="1395" y="342"/>
                  </a:lnTo>
                  <a:lnTo>
                    <a:pt x="1392" y="334"/>
                  </a:lnTo>
                  <a:lnTo>
                    <a:pt x="1388" y="326"/>
                  </a:lnTo>
                  <a:lnTo>
                    <a:pt x="1383" y="318"/>
                  </a:lnTo>
                  <a:lnTo>
                    <a:pt x="1378" y="310"/>
                  </a:lnTo>
                  <a:lnTo>
                    <a:pt x="1372" y="303"/>
                  </a:lnTo>
                  <a:lnTo>
                    <a:pt x="1366" y="295"/>
                  </a:lnTo>
                  <a:lnTo>
                    <a:pt x="1360" y="288"/>
                  </a:lnTo>
                  <a:lnTo>
                    <a:pt x="1353" y="281"/>
                  </a:lnTo>
                  <a:lnTo>
                    <a:pt x="1352" y="280"/>
                  </a:lnTo>
                  <a:lnTo>
                    <a:pt x="1351" y="278"/>
                  </a:lnTo>
                  <a:lnTo>
                    <a:pt x="1350" y="276"/>
                  </a:lnTo>
                  <a:lnTo>
                    <a:pt x="1350" y="274"/>
                  </a:lnTo>
                  <a:lnTo>
                    <a:pt x="1350" y="270"/>
                  </a:lnTo>
                  <a:lnTo>
                    <a:pt x="1353" y="266"/>
                  </a:lnTo>
                  <a:lnTo>
                    <a:pt x="1357" y="262"/>
                  </a:lnTo>
                  <a:lnTo>
                    <a:pt x="1362" y="257"/>
                  </a:lnTo>
                  <a:lnTo>
                    <a:pt x="1367" y="253"/>
                  </a:lnTo>
                  <a:lnTo>
                    <a:pt x="1372" y="249"/>
                  </a:lnTo>
                  <a:lnTo>
                    <a:pt x="1383" y="242"/>
                  </a:lnTo>
                  <a:lnTo>
                    <a:pt x="1388" y="239"/>
                  </a:lnTo>
                  <a:lnTo>
                    <a:pt x="1394" y="236"/>
                  </a:lnTo>
                  <a:lnTo>
                    <a:pt x="1400" y="234"/>
                  </a:lnTo>
                  <a:lnTo>
                    <a:pt x="1406" y="232"/>
                  </a:lnTo>
                  <a:lnTo>
                    <a:pt x="1412" y="230"/>
                  </a:lnTo>
                  <a:lnTo>
                    <a:pt x="1418" y="228"/>
                  </a:lnTo>
                  <a:lnTo>
                    <a:pt x="1424" y="227"/>
                  </a:lnTo>
                  <a:lnTo>
                    <a:pt x="1431" y="226"/>
                  </a:lnTo>
                  <a:lnTo>
                    <a:pt x="1444" y="226"/>
                  </a:lnTo>
                  <a:lnTo>
                    <a:pt x="1452" y="226"/>
                  </a:lnTo>
                  <a:lnTo>
                    <a:pt x="1460" y="227"/>
                  </a:lnTo>
                  <a:lnTo>
                    <a:pt x="1468" y="228"/>
                  </a:lnTo>
                  <a:lnTo>
                    <a:pt x="1476" y="230"/>
                  </a:lnTo>
                  <a:lnTo>
                    <a:pt x="1483" y="232"/>
                  </a:lnTo>
                  <a:lnTo>
                    <a:pt x="1491" y="235"/>
                  </a:lnTo>
                  <a:lnTo>
                    <a:pt x="1498" y="238"/>
                  </a:lnTo>
                  <a:lnTo>
                    <a:pt x="1505" y="242"/>
                  </a:lnTo>
                  <a:lnTo>
                    <a:pt x="1512" y="246"/>
                  </a:lnTo>
                  <a:lnTo>
                    <a:pt x="1518" y="251"/>
                  </a:lnTo>
                  <a:lnTo>
                    <a:pt x="1525" y="256"/>
                  </a:lnTo>
                  <a:lnTo>
                    <a:pt x="1530" y="261"/>
                  </a:lnTo>
                  <a:lnTo>
                    <a:pt x="1536" y="267"/>
                  </a:lnTo>
                  <a:lnTo>
                    <a:pt x="1541" y="273"/>
                  </a:lnTo>
                  <a:lnTo>
                    <a:pt x="1546" y="280"/>
                  </a:lnTo>
                  <a:lnTo>
                    <a:pt x="1550" y="287"/>
                  </a:lnTo>
                  <a:lnTo>
                    <a:pt x="1560" y="275"/>
                  </a:lnTo>
                  <a:lnTo>
                    <a:pt x="1574" y="259"/>
                  </a:lnTo>
                  <a:lnTo>
                    <a:pt x="1582" y="250"/>
                  </a:lnTo>
                  <a:lnTo>
                    <a:pt x="1591" y="241"/>
                  </a:lnTo>
                  <a:lnTo>
                    <a:pt x="1602" y="232"/>
                  </a:lnTo>
                  <a:lnTo>
                    <a:pt x="1613" y="223"/>
                  </a:lnTo>
                  <a:lnTo>
                    <a:pt x="1625" y="214"/>
                  </a:lnTo>
                  <a:lnTo>
                    <a:pt x="1638" y="205"/>
                  </a:lnTo>
                  <a:lnTo>
                    <a:pt x="1651" y="198"/>
                  </a:lnTo>
                  <a:lnTo>
                    <a:pt x="1666" y="191"/>
                  </a:lnTo>
                  <a:lnTo>
                    <a:pt x="1673" y="188"/>
                  </a:lnTo>
                  <a:lnTo>
                    <a:pt x="1681" y="186"/>
                  </a:lnTo>
                  <a:lnTo>
                    <a:pt x="1688" y="183"/>
                  </a:lnTo>
                  <a:lnTo>
                    <a:pt x="1696" y="181"/>
                  </a:lnTo>
                  <a:lnTo>
                    <a:pt x="1704" y="180"/>
                  </a:lnTo>
                  <a:lnTo>
                    <a:pt x="1712" y="179"/>
                  </a:lnTo>
                  <a:lnTo>
                    <a:pt x="1720" y="178"/>
                  </a:lnTo>
                  <a:lnTo>
                    <a:pt x="1729" y="178"/>
                  </a:lnTo>
                  <a:close/>
                  <a:moveTo>
                    <a:pt x="1450" y="807"/>
                  </a:moveTo>
                  <a:lnTo>
                    <a:pt x="1453" y="807"/>
                  </a:lnTo>
                  <a:lnTo>
                    <a:pt x="1455" y="808"/>
                  </a:lnTo>
                  <a:lnTo>
                    <a:pt x="1457" y="810"/>
                  </a:lnTo>
                  <a:lnTo>
                    <a:pt x="1458" y="812"/>
                  </a:lnTo>
                  <a:lnTo>
                    <a:pt x="1459" y="814"/>
                  </a:lnTo>
                  <a:lnTo>
                    <a:pt x="1460" y="816"/>
                  </a:lnTo>
                  <a:lnTo>
                    <a:pt x="1460" y="819"/>
                  </a:lnTo>
                  <a:lnTo>
                    <a:pt x="1459" y="821"/>
                  </a:lnTo>
                  <a:lnTo>
                    <a:pt x="1439" y="885"/>
                  </a:lnTo>
                  <a:lnTo>
                    <a:pt x="1438" y="886"/>
                  </a:lnTo>
                  <a:lnTo>
                    <a:pt x="1437" y="888"/>
                  </a:lnTo>
                  <a:lnTo>
                    <a:pt x="1435" y="890"/>
                  </a:lnTo>
                  <a:lnTo>
                    <a:pt x="1432" y="892"/>
                  </a:lnTo>
                  <a:lnTo>
                    <a:pt x="1428" y="892"/>
                  </a:lnTo>
                  <a:lnTo>
                    <a:pt x="1374" y="887"/>
                  </a:lnTo>
                  <a:lnTo>
                    <a:pt x="1313" y="881"/>
                  </a:lnTo>
                  <a:lnTo>
                    <a:pt x="1245" y="876"/>
                  </a:lnTo>
                  <a:lnTo>
                    <a:pt x="1174" y="871"/>
                  </a:lnTo>
                  <a:lnTo>
                    <a:pt x="1099" y="867"/>
                  </a:lnTo>
                  <a:lnTo>
                    <a:pt x="1023" y="863"/>
                  </a:lnTo>
                  <a:lnTo>
                    <a:pt x="984" y="862"/>
                  </a:lnTo>
                  <a:lnTo>
                    <a:pt x="946" y="861"/>
                  </a:lnTo>
                  <a:lnTo>
                    <a:pt x="871" y="861"/>
                  </a:lnTo>
                  <a:lnTo>
                    <a:pt x="795" y="861"/>
                  </a:lnTo>
                  <a:lnTo>
                    <a:pt x="718" y="863"/>
                  </a:lnTo>
                  <a:lnTo>
                    <a:pt x="641" y="867"/>
                  </a:lnTo>
                  <a:lnTo>
                    <a:pt x="567" y="871"/>
                  </a:lnTo>
                  <a:lnTo>
                    <a:pt x="495" y="876"/>
                  </a:lnTo>
                  <a:lnTo>
                    <a:pt x="428" y="881"/>
                  </a:lnTo>
                  <a:lnTo>
                    <a:pt x="367" y="887"/>
                  </a:lnTo>
                  <a:lnTo>
                    <a:pt x="313" y="892"/>
                  </a:lnTo>
                  <a:lnTo>
                    <a:pt x="309" y="892"/>
                  </a:lnTo>
                  <a:lnTo>
                    <a:pt x="307" y="891"/>
                  </a:lnTo>
                  <a:lnTo>
                    <a:pt x="306" y="890"/>
                  </a:lnTo>
                  <a:lnTo>
                    <a:pt x="303" y="888"/>
                  </a:lnTo>
                  <a:lnTo>
                    <a:pt x="302" y="885"/>
                  </a:lnTo>
                  <a:lnTo>
                    <a:pt x="292" y="854"/>
                  </a:lnTo>
                  <a:lnTo>
                    <a:pt x="281" y="821"/>
                  </a:lnTo>
                  <a:lnTo>
                    <a:pt x="280" y="819"/>
                  </a:lnTo>
                  <a:lnTo>
                    <a:pt x="280" y="816"/>
                  </a:lnTo>
                  <a:lnTo>
                    <a:pt x="282" y="812"/>
                  </a:lnTo>
                  <a:lnTo>
                    <a:pt x="283" y="810"/>
                  </a:lnTo>
                  <a:lnTo>
                    <a:pt x="285" y="808"/>
                  </a:lnTo>
                  <a:lnTo>
                    <a:pt x="287" y="807"/>
                  </a:lnTo>
                  <a:lnTo>
                    <a:pt x="290" y="807"/>
                  </a:lnTo>
                  <a:lnTo>
                    <a:pt x="292" y="806"/>
                  </a:lnTo>
                  <a:lnTo>
                    <a:pt x="335" y="802"/>
                  </a:lnTo>
                  <a:lnTo>
                    <a:pt x="391" y="796"/>
                  </a:lnTo>
                  <a:lnTo>
                    <a:pt x="457" y="790"/>
                  </a:lnTo>
                  <a:lnTo>
                    <a:pt x="531" y="785"/>
                  </a:lnTo>
                  <a:lnTo>
                    <a:pt x="611" y="780"/>
                  </a:lnTo>
                  <a:lnTo>
                    <a:pt x="653" y="778"/>
                  </a:lnTo>
                  <a:lnTo>
                    <a:pt x="696" y="776"/>
                  </a:lnTo>
                  <a:lnTo>
                    <a:pt x="740" y="774"/>
                  </a:lnTo>
                  <a:lnTo>
                    <a:pt x="783" y="773"/>
                  </a:lnTo>
                  <a:lnTo>
                    <a:pt x="827" y="772"/>
                  </a:lnTo>
                  <a:lnTo>
                    <a:pt x="871" y="772"/>
                  </a:lnTo>
                  <a:lnTo>
                    <a:pt x="914" y="772"/>
                  </a:lnTo>
                  <a:lnTo>
                    <a:pt x="958" y="773"/>
                  </a:lnTo>
                  <a:lnTo>
                    <a:pt x="1001" y="774"/>
                  </a:lnTo>
                  <a:lnTo>
                    <a:pt x="1045" y="776"/>
                  </a:lnTo>
                  <a:lnTo>
                    <a:pt x="1129" y="780"/>
                  </a:lnTo>
                  <a:lnTo>
                    <a:pt x="1209" y="785"/>
                  </a:lnTo>
                  <a:lnTo>
                    <a:pt x="1283" y="790"/>
                  </a:lnTo>
                  <a:lnTo>
                    <a:pt x="1349" y="796"/>
                  </a:lnTo>
                  <a:lnTo>
                    <a:pt x="1405" y="802"/>
                  </a:lnTo>
                  <a:lnTo>
                    <a:pt x="1449" y="806"/>
                  </a:lnTo>
                  <a:lnTo>
                    <a:pt x="1450" y="8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auto">
            <a:xfrm>
              <a:off x="4287838" y="2951163"/>
              <a:ext cx="6440488" cy="1217612"/>
            </a:xfrm>
            <a:custGeom>
              <a:avLst/>
              <a:gdLst>
                <a:gd name="T0" fmla="*/ 3533 w 4057"/>
                <a:gd name="T1" fmla="*/ 11 h 767"/>
                <a:gd name="T2" fmla="*/ 3620 w 4057"/>
                <a:gd name="T3" fmla="*/ 37 h 767"/>
                <a:gd name="T4" fmla="*/ 4033 w 4057"/>
                <a:gd name="T5" fmla="*/ 15 h 767"/>
                <a:gd name="T6" fmla="*/ 4055 w 4057"/>
                <a:gd name="T7" fmla="*/ 724 h 767"/>
                <a:gd name="T8" fmla="*/ 4042 w 4057"/>
                <a:gd name="T9" fmla="*/ 755 h 767"/>
                <a:gd name="T10" fmla="*/ 3620 w 4057"/>
                <a:gd name="T11" fmla="*/ 736 h 767"/>
                <a:gd name="T12" fmla="*/ 3528 w 4057"/>
                <a:gd name="T13" fmla="*/ 756 h 767"/>
                <a:gd name="T14" fmla="*/ 330 w 4057"/>
                <a:gd name="T15" fmla="*/ 10 h 767"/>
                <a:gd name="T16" fmla="*/ 367 w 4057"/>
                <a:gd name="T17" fmla="*/ 4 h 767"/>
                <a:gd name="T18" fmla="*/ 693 w 4057"/>
                <a:gd name="T19" fmla="*/ 754 h 767"/>
                <a:gd name="T20" fmla="*/ 593 w 4057"/>
                <a:gd name="T21" fmla="*/ 744 h 767"/>
                <a:gd name="T22" fmla="*/ 21 w 4057"/>
                <a:gd name="T23" fmla="*/ 757 h 767"/>
                <a:gd name="T24" fmla="*/ 2 w 4057"/>
                <a:gd name="T25" fmla="*/ 729 h 767"/>
                <a:gd name="T26" fmla="*/ 827 w 4057"/>
                <a:gd name="T27" fmla="*/ 13 h 767"/>
                <a:gd name="T28" fmla="*/ 1180 w 4057"/>
                <a:gd name="T29" fmla="*/ 34 h 767"/>
                <a:gd name="T30" fmla="*/ 1281 w 4057"/>
                <a:gd name="T31" fmla="*/ 125 h 767"/>
                <a:gd name="T32" fmla="*/ 1315 w 4057"/>
                <a:gd name="T33" fmla="*/ 258 h 767"/>
                <a:gd name="T34" fmla="*/ 1268 w 4057"/>
                <a:gd name="T35" fmla="*/ 390 h 767"/>
                <a:gd name="T36" fmla="*/ 1159 w 4057"/>
                <a:gd name="T37" fmla="*/ 472 h 767"/>
                <a:gd name="T38" fmla="*/ 920 w 4057"/>
                <a:gd name="T39" fmla="*/ 747 h 767"/>
                <a:gd name="T40" fmla="*/ 816 w 4057"/>
                <a:gd name="T41" fmla="*/ 744 h 767"/>
                <a:gd name="T42" fmla="*/ 1135 w 4057"/>
                <a:gd name="T43" fmla="*/ 366 h 767"/>
                <a:gd name="T44" fmla="*/ 1203 w 4057"/>
                <a:gd name="T45" fmla="*/ 273 h 767"/>
                <a:gd name="T46" fmla="*/ 1189 w 4057"/>
                <a:gd name="T47" fmla="*/ 183 h 767"/>
                <a:gd name="T48" fmla="*/ 1098 w 4057"/>
                <a:gd name="T49" fmla="*/ 120 h 767"/>
                <a:gd name="T50" fmla="*/ 1899 w 4057"/>
                <a:gd name="T51" fmla="*/ 15 h 767"/>
                <a:gd name="T52" fmla="*/ 2058 w 4057"/>
                <a:gd name="T53" fmla="*/ 106 h 767"/>
                <a:gd name="T54" fmla="*/ 2153 w 4057"/>
                <a:gd name="T55" fmla="*/ 252 h 767"/>
                <a:gd name="T56" fmla="*/ 2169 w 4057"/>
                <a:gd name="T57" fmla="*/ 463 h 767"/>
                <a:gd name="T58" fmla="*/ 2089 w 4057"/>
                <a:gd name="T59" fmla="*/ 629 h 767"/>
                <a:gd name="T60" fmla="*/ 1960 w 4057"/>
                <a:gd name="T61" fmla="*/ 730 h 767"/>
                <a:gd name="T62" fmla="*/ 1773 w 4057"/>
                <a:gd name="T63" fmla="*/ 767 h 767"/>
                <a:gd name="T64" fmla="*/ 1578 w 4057"/>
                <a:gd name="T65" fmla="*/ 702 h 767"/>
                <a:gd name="T66" fmla="*/ 1466 w 4057"/>
                <a:gd name="T67" fmla="*/ 584 h 767"/>
                <a:gd name="T68" fmla="*/ 1411 w 4057"/>
                <a:gd name="T69" fmla="*/ 405 h 767"/>
                <a:gd name="T70" fmla="*/ 1448 w 4057"/>
                <a:gd name="T71" fmla="*/ 218 h 767"/>
                <a:gd name="T72" fmla="*/ 1563 w 4057"/>
                <a:gd name="T73" fmla="*/ 76 h 767"/>
                <a:gd name="T74" fmla="*/ 1725 w 4057"/>
                <a:gd name="T75" fmla="*/ 6 h 767"/>
                <a:gd name="T76" fmla="*/ 1888 w 4057"/>
                <a:gd name="T77" fmla="*/ 644 h 767"/>
                <a:gd name="T78" fmla="*/ 2007 w 4057"/>
                <a:gd name="T79" fmla="*/ 561 h 767"/>
                <a:gd name="T80" fmla="*/ 2069 w 4057"/>
                <a:gd name="T81" fmla="*/ 413 h 767"/>
                <a:gd name="T82" fmla="*/ 2037 w 4057"/>
                <a:gd name="T83" fmla="*/ 253 h 767"/>
                <a:gd name="T84" fmla="*/ 1925 w 4057"/>
                <a:gd name="T85" fmla="*/ 141 h 767"/>
                <a:gd name="T86" fmla="*/ 1765 w 4057"/>
                <a:gd name="T87" fmla="*/ 108 h 767"/>
                <a:gd name="T88" fmla="*/ 1618 w 4057"/>
                <a:gd name="T89" fmla="*/ 171 h 767"/>
                <a:gd name="T90" fmla="*/ 1530 w 4057"/>
                <a:gd name="T91" fmla="*/ 304 h 767"/>
                <a:gd name="T92" fmla="*/ 1530 w 4057"/>
                <a:gd name="T93" fmla="*/ 467 h 767"/>
                <a:gd name="T94" fmla="*/ 1618 w 4057"/>
                <a:gd name="T95" fmla="*/ 598 h 767"/>
                <a:gd name="T96" fmla="*/ 1765 w 4057"/>
                <a:gd name="T97" fmla="*/ 659 h 767"/>
                <a:gd name="T98" fmla="*/ 2214 w 4057"/>
                <a:gd name="T99" fmla="*/ 91 h 767"/>
                <a:gd name="T100" fmla="*/ 2736 w 4057"/>
                <a:gd name="T101" fmla="*/ 13 h 767"/>
                <a:gd name="T102" fmla="*/ 2739 w 4057"/>
                <a:gd name="T103" fmla="*/ 107 h 767"/>
                <a:gd name="T104" fmla="*/ 2520 w 4057"/>
                <a:gd name="T105" fmla="*/ 756 h 767"/>
                <a:gd name="T106" fmla="*/ 2885 w 4057"/>
                <a:gd name="T107" fmla="*/ 31 h 767"/>
                <a:gd name="T108" fmla="*/ 3343 w 4057"/>
                <a:gd name="T109" fmla="*/ 15 h 767"/>
                <a:gd name="T110" fmla="*/ 3340 w 4057"/>
                <a:gd name="T111" fmla="*/ 109 h 767"/>
                <a:gd name="T112" fmla="*/ 3298 w 4057"/>
                <a:gd name="T113" fmla="*/ 345 h 767"/>
                <a:gd name="T114" fmla="*/ 2994 w 4057"/>
                <a:gd name="T115" fmla="*/ 658 h 767"/>
                <a:gd name="T116" fmla="*/ 3350 w 4057"/>
                <a:gd name="T117" fmla="*/ 744 h 767"/>
                <a:gd name="T118" fmla="*/ 2888 w 4057"/>
                <a:gd name="T119" fmla="*/ 747 h 7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057" h="767">
                  <a:moveTo>
                    <a:pt x="3508" y="37"/>
                  </a:moveTo>
                  <a:lnTo>
                    <a:pt x="3508" y="31"/>
                  </a:lnTo>
                  <a:lnTo>
                    <a:pt x="3509" y="29"/>
                  </a:lnTo>
                  <a:lnTo>
                    <a:pt x="3509" y="27"/>
                  </a:lnTo>
                  <a:lnTo>
                    <a:pt x="3510" y="25"/>
                  </a:lnTo>
                  <a:lnTo>
                    <a:pt x="3512" y="22"/>
                  </a:lnTo>
                  <a:lnTo>
                    <a:pt x="3515" y="19"/>
                  </a:lnTo>
                  <a:lnTo>
                    <a:pt x="3518" y="15"/>
                  </a:lnTo>
                  <a:lnTo>
                    <a:pt x="3523" y="13"/>
                  </a:lnTo>
                  <a:lnTo>
                    <a:pt x="3525" y="12"/>
                  </a:lnTo>
                  <a:lnTo>
                    <a:pt x="3528" y="12"/>
                  </a:lnTo>
                  <a:lnTo>
                    <a:pt x="3533" y="11"/>
                  </a:lnTo>
                  <a:lnTo>
                    <a:pt x="3595" y="11"/>
                  </a:lnTo>
                  <a:lnTo>
                    <a:pt x="3600" y="12"/>
                  </a:lnTo>
                  <a:lnTo>
                    <a:pt x="3602" y="12"/>
                  </a:lnTo>
                  <a:lnTo>
                    <a:pt x="3605" y="13"/>
                  </a:lnTo>
                  <a:lnTo>
                    <a:pt x="3609" y="15"/>
                  </a:lnTo>
                  <a:lnTo>
                    <a:pt x="3611" y="17"/>
                  </a:lnTo>
                  <a:lnTo>
                    <a:pt x="3613" y="19"/>
                  </a:lnTo>
                  <a:lnTo>
                    <a:pt x="3616" y="22"/>
                  </a:lnTo>
                  <a:lnTo>
                    <a:pt x="3618" y="27"/>
                  </a:lnTo>
                  <a:lnTo>
                    <a:pt x="3619" y="29"/>
                  </a:lnTo>
                  <a:lnTo>
                    <a:pt x="3620" y="31"/>
                  </a:lnTo>
                  <a:lnTo>
                    <a:pt x="3620" y="37"/>
                  </a:lnTo>
                  <a:lnTo>
                    <a:pt x="3620" y="332"/>
                  </a:lnTo>
                  <a:lnTo>
                    <a:pt x="3920" y="22"/>
                  </a:lnTo>
                  <a:lnTo>
                    <a:pt x="3924" y="18"/>
                  </a:lnTo>
                  <a:lnTo>
                    <a:pt x="3929" y="14"/>
                  </a:lnTo>
                  <a:lnTo>
                    <a:pt x="3934" y="12"/>
                  </a:lnTo>
                  <a:lnTo>
                    <a:pt x="3937" y="11"/>
                  </a:lnTo>
                  <a:lnTo>
                    <a:pt x="3940" y="11"/>
                  </a:lnTo>
                  <a:lnTo>
                    <a:pt x="4020" y="11"/>
                  </a:lnTo>
                  <a:lnTo>
                    <a:pt x="4024" y="11"/>
                  </a:lnTo>
                  <a:lnTo>
                    <a:pt x="4027" y="12"/>
                  </a:lnTo>
                  <a:lnTo>
                    <a:pt x="4030" y="13"/>
                  </a:lnTo>
                  <a:lnTo>
                    <a:pt x="4033" y="15"/>
                  </a:lnTo>
                  <a:lnTo>
                    <a:pt x="4035" y="17"/>
                  </a:lnTo>
                  <a:lnTo>
                    <a:pt x="4037" y="19"/>
                  </a:lnTo>
                  <a:lnTo>
                    <a:pt x="4040" y="24"/>
                  </a:lnTo>
                  <a:lnTo>
                    <a:pt x="4042" y="30"/>
                  </a:lnTo>
                  <a:lnTo>
                    <a:pt x="4042" y="33"/>
                  </a:lnTo>
                  <a:lnTo>
                    <a:pt x="4042" y="37"/>
                  </a:lnTo>
                  <a:lnTo>
                    <a:pt x="4039" y="43"/>
                  </a:lnTo>
                  <a:lnTo>
                    <a:pt x="4038" y="46"/>
                  </a:lnTo>
                  <a:lnTo>
                    <a:pt x="4035" y="49"/>
                  </a:lnTo>
                  <a:lnTo>
                    <a:pt x="3728" y="363"/>
                  </a:lnTo>
                  <a:lnTo>
                    <a:pt x="4053" y="721"/>
                  </a:lnTo>
                  <a:lnTo>
                    <a:pt x="4055" y="724"/>
                  </a:lnTo>
                  <a:lnTo>
                    <a:pt x="4056" y="726"/>
                  </a:lnTo>
                  <a:lnTo>
                    <a:pt x="4057" y="731"/>
                  </a:lnTo>
                  <a:lnTo>
                    <a:pt x="4057" y="734"/>
                  </a:lnTo>
                  <a:lnTo>
                    <a:pt x="4057" y="737"/>
                  </a:lnTo>
                  <a:lnTo>
                    <a:pt x="4056" y="740"/>
                  </a:lnTo>
                  <a:lnTo>
                    <a:pt x="4055" y="743"/>
                  </a:lnTo>
                  <a:lnTo>
                    <a:pt x="4054" y="746"/>
                  </a:lnTo>
                  <a:lnTo>
                    <a:pt x="4052" y="748"/>
                  </a:lnTo>
                  <a:lnTo>
                    <a:pt x="4050" y="750"/>
                  </a:lnTo>
                  <a:lnTo>
                    <a:pt x="4048" y="752"/>
                  </a:lnTo>
                  <a:lnTo>
                    <a:pt x="4045" y="754"/>
                  </a:lnTo>
                  <a:lnTo>
                    <a:pt x="4042" y="755"/>
                  </a:lnTo>
                  <a:lnTo>
                    <a:pt x="4038" y="756"/>
                  </a:lnTo>
                  <a:lnTo>
                    <a:pt x="4034" y="756"/>
                  </a:lnTo>
                  <a:lnTo>
                    <a:pt x="3949" y="756"/>
                  </a:lnTo>
                  <a:lnTo>
                    <a:pt x="3945" y="756"/>
                  </a:lnTo>
                  <a:lnTo>
                    <a:pt x="3942" y="756"/>
                  </a:lnTo>
                  <a:lnTo>
                    <a:pt x="3936" y="754"/>
                  </a:lnTo>
                  <a:lnTo>
                    <a:pt x="3934" y="753"/>
                  </a:lnTo>
                  <a:lnTo>
                    <a:pt x="3932" y="752"/>
                  </a:lnTo>
                  <a:lnTo>
                    <a:pt x="3930" y="749"/>
                  </a:lnTo>
                  <a:lnTo>
                    <a:pt x="3620" y="400"/>
                  </a:lnTo>
                  <a:lnTo>
                    <a:pt x="3620" y="731"/>
                  </a:lnTo>
                  <a:lnTo>
                    <a:pt x="3620" y="736"/>
                  </a:lnTo>
                  <a:lnTo>
                    <a:pt x="3619" y="738"/>
                  </a:lnTo>
                  <a:lnTo>
                    <a:pt x="3618" y="741"/>
                  </a:lnTo>
                  <a:lnTo>
                    <a:pt x="3616" y="745"/>
                  </a:lnTo>
                  <a:lnTo>
                    <a:pt x="3614" y="747"/>
                  </a:lnTo>
                  <a:lnTo>
                    <a:pt x="3613" y="749"/>
                  </a:lnTo>
                  <a:lnTo>
                    <a:pt x="3609" y="752"/>
                  </a:lnTo>
                  <a:lnTo>
                    <a:pt x="3605" y="754"/>
                  </a:lnTo>
                  <a:lnTo>
                    <a:pt x="3602" y="755"/>
                  </a:lnTo>
                  <a:lnTo>
                    <a:pt x="3600" y="756"/>
                  </a:lnTo>
                  <a:lnTo>
                    <a:pt x="3595" y="756"/>
                  </a:lnTo>
                  <a:lnTo>
                    <a:pt x="3533" y="756"/>
                  </a:lnTo>
                  <a:lnTo>
                    <a:pt x="3528" y="756"/>
                  </a:lnTo>
                  <a:lnTo>
                    <a:pt x="3523" y="754"/>
                  </a:lnTo>
                  <a:lnTo>
                    <a:pt x="3518" y="752"/>
                  </a:lnTo>
                  <a:lnTo>
                    <a:pt x="3515" y="749"/>
                  </a:lnTo>
                  <a:lnTo>
                    <a:pt x="3512" y="745"/>
                  </a:lnTo>
                  <a:lnTo>
                    <a:pt x="3510" y="743"/>
                  </a:lnTo>
                  <a:lnTo>
                    <a:pt x="3509" y="741"/>
                  </a:lnTo>
                  <a:lnTo>
                    <a:pt x="3508" y="736"/>
                  </a:lnTo>
                  <a:lnTo>
                    <a:pt x="3508" y="731"/>
                  </a:lnTo>
                  <a:lnTo>
                    <a:pt x="3508" y="37"/>
                  </a:lnTo>
                  <a:close/>
                  <a:moveTo>
                    <a:pt x="2" y="729"/>
                  </a:moveTo>
                  <a:lnTo>
                    <a:pt x="329" y="12"/>
                  </a:lnTo>
                  <a:lnTo>
                    <a:pt x="330" y="10"/>
                  </a:lnTo>
                  <a:lnTo>
                    <a:pt x="332" y="8"/>
                  </a:lnTo>
                  <a:lnTo>
                    <a:pt x="335" y="6"/>
                  </a:lnTo>
                  <a:lnTo>
                    <a:pt x="337" y="4"/>
                  </a:lnTo>
                  <a:lnTo>
                    <a:pt x="340" y="2"/>
                  </a:lnTo>
                  <a:lnTo>
                    <a:pt x="342" y="1"/>
                  </a:lnTo>
                  <a:lnTo>
                    <a:pt x="345" y="1"/>
                  </a:lnTo>
                  <a:lnTo>
                    <a:pt x="347" y="0"/>
                  </a:lnTo>
                  <a:lnTo>
                    <a:pt x="358" y="0"/>
                  </a:lnTo>
                  <a:lnTo>
                    <a:pt x="360" y="1"/>
                  </a:lnTo>
                  <a:lnTo>
                    <a:pt x="362" y="1"/>
                  </a:lnTo>
                  <a:lnTo>
                    <a:pt x="365" y="2"/>
                  </a:lnTo>
                  <a:lnTo>
                    <a:pt x="367" y="4"/>
                  </a:lnTo>
                  <a:lnTo>
                    <a:pt x="370" y="6"/>
                  </a:lnTo>
                  <a:lnTo>
                    <a:pt x="372" y="8"/>
                  </a:lnTo>
                  <a:lnTo>
                    <a:pt x="376" y="12"/>
                  </a:lnTo>
                  <a:lnTo>
                    <a:pt x="701" y="729"/>
                  </a:lnTo>
                  <a:lnTo>
                    <a:pt x="703" y="734"/>
                  </a:lnTo>
                  <a:lnTo>
                    <a:pt x="703" y="739"/>
                  </a:lnTo>
                  <a:lnTo>
                    <a:pt x="702" y="744"/>
                  </a:lnTo>
                  <a:lnTo>
                    <a:pt x="702" y="746"/>
                  </a:lnTo>
                  <a:lnTo>
                    <a:pt x="700" y="748"/>
                  </a:lnTo>
                  <a:lnTo>
                    <a:pt x="699" y="750"/>
                  </a:lnTo>
                  <a:lnTo>
                    <a:pt x="697" y="751"/>
                  </a:lnTo>
                  <a:lnTo>
                    <a:pt x="693" y="754"/>
                  </a:lnTo>
                  <a:lnTo>
                    <a:pt x="689" y="756"/>
                  </a:lnTo>
                  <a:lnTo>
                    <a:pt x="686" y="756"/>
                  </a:lnTo>
                  <a:lnTo>
                    <a:pt x="683" y="757"/>
                  </a:lnTo>
                  <a:lnTo>
                    <a:pt x="616" y="757"/>
                  </a:lnTo>
                  <a:lnTo>
                    <a:pt x="611" y="756"/>
                  </a:lnTo>
                  <a:lnTo>
                    <a:pt x="607" y="755"/>
                  </a:lnTo>
                  <a:lnTo>
                    <a:pt x="606" y="755"/>
                  </a:lnTo>
                  <a:lnTo>
                    <a:pt x="604" y="754"/>
                  </a:lnTo>
                  <a:lnTo>
                    <a:pt x="601" y="752"/>
                  </a:lnTo>
                  <a:lnTo>
                    <a:pt x="598" y="750"/>
                  </a:lnTo>
                  <a:lnTo>
                    <a:pt x="595" y="747"/>
                  </a:lnTo>
                  <a:lnTo>
                    <a:pt x="593" y="744"/>
                  </a:lnTo>
                  <a:lnTo>
                    <a:pt x="592" y="741"/>
                  </a:lnTo>
                  <a:lnTo>
                    <a:pt x="526" y="595"/>
                  </a:lnTo>
                  <a:lnTo>
                    <a:pt x="177" y="595"/>
                  </a:lnTo>
                  <a:lnTo>
                    <a:pt x="144" y="668"/>
                  </a:lnTo>
                  <a:lnTo>
                    <a:pt x="112" y="741"/>
                  </a:lnTo>
                  <a:lnTo>
                    <a:pt x="109" y="746"/>
                  </a:lnTo>
                  <a:lnTo>
                    <a:pt x="103" y="751"/>
                  </a:lnTo>
                  <a:lnTo>
                    <a:pt x="100" y="753"/>
                  </a:lnTo>
                  <a:lnTo>
                    <a:pt x="96" y="755"/>
                  </a:lnTo>
                  <a:lnTo>
                    <a:pt x="92" y="756"/>
                  </a:lnTo>
                  <a:lnTo>
                    <a:pt x="88" y="757"/>
                  </a:lnTo>
                  <a:lnTo>
                    <a:pt x="21" y="757"/>
                  </a:lnTo>
                  <a:lnTo>
                    <a:pt x="15" y="756"/>
                  </a:lnTo>
                  <a:lnTo>
                    <a:pt x="10" y="754"/>
                  </a:lnTo>
                  <a:lnTo>
                    <a:pt x="6" y="751"/>
                  </a:lnTo>
                  <a:lnTo>
                    <a:pt x="4" y="750"/>
                  </a:lnTo>
                  <a:lnTo>
                    <a:pt x="3" y="748"/>
                  </a:lnTo>
                  <a:lnTo>
                    <a:pt x="1" y="744"/>
                  </a:lnTo>
                  <a:lnTo>
                    <a:pt x="1" y="741"/>
                  </a:lnTo>
                  <a:lnTo>
                    <a:pt x="0" y="739"/>
                  </a:lnTo>
                  <a:lnTo>
                    <a:pt x="0" y="737"/>
                  </a:lnTo>
                  <a:lnTo>
                    <a:pt x="1" y="734"/>
                  </a:lnTo>
                  <a:lnTo>
                    <a:pt x="1" y="731"/>
                  </a:lnTo>
                  <a:lnTo>
                    <a:pt x="2" y="729"/>
                  </a:lnTo>
                  <a:close/>
                  <a:moveTo>
                    <a:pt x="485" y="503"/>
                  </a:moveTo>
                  <a:lnTo>
                    <a:pt x="353" y="211"/>
                  </a:lnTo>
                  <a:lnTo>
                    <a:pt x="348" y="211"/>
                  </a:lnTo>
                  <a:lnTo>
                    <a:pt x="218" y="503"/>
                  </a:lnTo>
                  <a:lnTo>
                    <a:pt x="485" y="503"/>
                  </a:lnTo>
                  <a:close/>
                  <a:moveTo>
                    <a:pt x="814" y="31"/>
                  </a:moveTo>
                  <a:lnTo>
                    <a:pt x="815" y="27"/>
                  </a:lnTo>
                  <a:lnTo>
                    <a:pt x="816" y="24"/>
                  </a:lnTo>
                  <a:lnTo>
                    <a:pt x="818" y="20"/>
                  </a:lnTo>
                  <a:lnTo>
                    <a:pt x="820" y="17"/>
                  </a:lnTo>
                  <a:lnTo>
                    <a:pt x="823" y="15"/>
                  </a:lnTo>
                  <a:lnTo>
                    <a:pt x="827" y="13"/>
                  </a:lnTo>
                  <a:lnTo>
                    <a:pt x="830" y="11"/>
                  </a:lnTo>
                  <a:lnTo>
                    <a:pt x="835" y="11"/>
                  </a:lnTo>
                  <a:lnTo>
                    <a:pt x="1077" y="11"/>
                  </a:lnTo>
                  <a:lnTo>
                    <a:pt x="1089" y="11"/>
                  </a:lnTo>
                  <a:lnTo>
                    <a:pt x="1101" y="12"/>
                  </a:lnTo>
                  <a:lnTo>
                    <a:pt x="1113" y="14"/>
                  </a:lnTo>
                  <a:lnTo>
                    <a:pt x="1125" y="16"/>
                  </a:lnTo>
                  <a:lnTo>
                    <a:pt x="1136" y="19"/>
                  </a:lnTo>
                  <a:lnTo>
                    <a:pt x="1148" y="22"/>
                  </a:lnTo>
                  <a:lnTo>
                    <a:pt x="1159" y="25"/>
                  </a:lnTo>
                  <a:lnTo>
                    <a:pt x="1170" y="30"/>
                  </a:lnTo>
                  <a:lnTo>
                    <a:pt x="1180" y="34"/>
                  </a:lnTo>
                  <a:lnTo>
                    <a:pt x="1190" y="40"/>
                  </a:lnTo>
                  <a:lnTo>
                    <a:pt x="1200" y="45"/>
                  </a:lnTo>
                  <a:lnTo>
                    <a:pt x="1210" y="51"/>
                  </a:lnTo>
                  <a:lnTo>
                    <a:pt x="1219" y="58"/>
                  </a:lnTo>
                  <a:lnTo>
                    <a:pt x="1228" y="65"/>
                  </a:lnTo>
                  <a:lnTo>
                    <a:pt x="1237" y="72"/>
                  </a:lnTo>
                  <a:lnTo>
                    <a:pt x="1245" y="80"/>
                  </a:lnTo>
                  <a:lnTo>
                    <a:pt x="1253" y="88"/>
                  </a:lnTo>
                  <a:lnTo>
                    <a:pt x="1261" y="97"/>
                  </a:lnTo>
                  <a:lnTo>
                    <a:pt x="1268" y="106"/>
                  </a:lnTo>
                  <a:lnTo>
                    <a:pt x="1275" y="115"/>
                  </a:lnTo>
                  <a:lnTo>
                    <a:pt x="1281" y="125"/>
                  </a:lnTo>
                  <a:lnTo>
                    <a:pt x="1286" y="135"/>
                  </a:lnTo>
                  <a:lnTo>
                    <a:pt x="1292" y="145"/>
                  </a:lnTo>
                  <a:lnTo>
                    <a:pt x="1297" y="155"/>
                  </a:lnTo>
                  <a:lnTo>
                    <a:pt x="1301" y="166"/>
                  </a:lnTo>
                  <a:lnTo>
                    <a:pt x="1305" y="177"/>
                  </a:lnTo>
                  <a:lnTo>
                    <a:pt x="1308" y="188"/>
                  </a:lnTo>
                  <a:lnTo>
                    <a:pt x="1311" y="199"/>
                  </a:lnTo>
                  <a:lnTo>
                    <a:pt x="1313" y="211"/>
                  </a:lnTo>
                  <a:lnTo>
                    <a:pt x="1314" y="222"/>
                  </a:lnTo>
                  <a:lnTo>
                    <a:pt x="1315" y="234"/>
                  </a:lnTo>
                  <a:lnTo>
                    <a:pt x="1315" y="246"/>
                  </a:lnTo>
                  <a:lnTo>
                    <a:pt x="1315" y="258"/>
                  </a:lnTo>
                  <a:lnTo>
                    <a:pt x="1314" y="270"/>
                  </a:lnTo>
                  <a:lnTo>
                    <a:pt x="1313" y="282"/>
                  </a:lnTo>
                  <a:lnTo>
                    <a:pt x="1311" y="294"/>
                  </a:lnTo>
                  <a:lnTo>
                    <a:pt x="1308" y="307"/>
                  </a:lnTo>
                  <a:lnTo>
                    <a:pt x="1305" y="318"/>
                  </a:lnTo>
                  <a:lnTo>
                    <a:pt x="1301" y="329"/>
                  </a:lnTo>
                  <a:lnTo>
                    <a:pt x="1297" y="340"/>
                  </a:lnTo>
                  <a:lnTo>
                    <a:pt x="1292" y="351"/>
                  </a:lnTo>
                  <a:lnTo>
                    <a:pt x="1287" y="361"/>
                  </a:lnTo>
                  <a:lnTo>
                    <a:pt x="1281" y="371"/>
                  </a:lnTo>
                  <a:lnTo>
                    <a:pt x="1275" y="381"/>
                  </a:lnTo>
                  <a:lnTo>
                    <a:pt x="1268" y="390"/>
                  </a:lnTo>
                  <a:lnTo>
                    <a:pt x="1261" y="399"/>
                  </a:lnTo>
                  <a:lnTo>
                    <a:pt x="1253" y="408"/>
                  </a:lnTo>
                  <a:lnTo>
                    <a:pt x="1245" y="416"/>
                  </a:lnTo>
                  <a:lnTo>
                    <a:pt x="1237" y="424"/>
                  </a:lnTo>
                  <a:lnTo>
                    <a:pt x="1229" y="432"/>
                  </a:lnTo>
                  <a:lnTo>
                    <a:pt x="1220" y="439"/>
                  </a:lnTo>
                  <a:lnTo>
                    <a:pt x="1210" y="445"/>
                  </a:lnTo>
                  <a:lnTo>
                    <a:pt x="1201" y="452"/>
                  </a:lnTo>
                  <a:lnTo>
                    <a:pt x="1191" y="457"/>
                  </a:lnTo>
                  <a:lnTo>
                    <a:pt x="1180" y="463"/>
                  </a:lnTo>
                  <a:lnTo>
                    <a:pt x="1170" y="468"/>
                  </a:lnTo>
                  <a:lnTo>
                    <a:pt x="1159" y="472"/>
                  </a:lnTo>
                  <a:lnTo>
                    <a:pt x="1148" y="476"/>
                  </a:lnTo>
                  <a:lnTo>
                    <a:pt x="1137" y="479"/>
                  </a:lnTo>
                  <a:lnTo>
                    <a:pt x="1126" y="481"/>
                  </a:lnTo>
                  <a:lnTo>
                    <a:pt x="1114" y="484"/>
                  </a:lnTo>
                  <a:lnTo>
                    <a:pt x="1102" y="485"/>
                  </a:lnTo>
                  <a:lnTo>
                    <a:pt x="1090" y="486"/>
                  </a:lnTo>
                  <a:lnTo>
                    <a:pt x="1078" y="486"/>
                  </a:lnTo>
                  <a:lnTo>
                    <a:pt x="924" y="486"/>
                  </a:lnTo>
                  <a:lnTo>
                    <a:pt x="924" y="736"/>
                  </a:lnTo>
                  <a:lnTo>
                    <a:pt x="924" y="740"/>
                  </a:lnTo>
                  <a:lnTo>
                    <a:pt x="922" y="744"/>
                  </a:lnTo>
                  <a:lnTo>
                    <a:pt x="920" y="747"/>
                  </a:lnTo>
                  <a:lnTo>
                    <a:pt x="918" y="750"/>
                  </a:lnTo>
                  <a:lnTo>
                    <a:pt x="915" y="753"/>
                  </a:lnTo>
                  <a:lnTo>
                    <a:pt x="911" y="755"/>
                  </a:lnTo>
                  <a:lnTo>
                    <a:pt x="908" y="756"/>
                  </a:lnTo>
                  <a:lnTo>
                    <a:pt x="904" y="756"/>
                  </a:lnTo>
                  <a:lnTo>
                    <a:pt x="835" y="756"/>
                  </a:lnTo>
                  <a:lnTo>
                    <a:pt x="830" y="756"/>
                  </a:lnTo>
                  <a:lnTo>
                    <a:pt x="827" y="755"/>
                  </a:lnTo>
                  <a:lnTo>
                    <a:pt x="823" y="753"/>
                  </a:lnTo>
                  <a:lnTo>
                    <a:pt x="820" y="750"/>
                  </a:lnTo>
                  <a:lnTo>
                    <a:pt x="818" y="747"/>
                  </a:lnTo>
                  <a:lnTo>
                    <a:pt x="816" y="744"/>
                  </a:lnTo>
                  <a:lnTo>
                    <a:pt x="815" y="740"/>
                  </a:lnTo>
                  <a:lnTo>
                    <a:pt x="814" y="736"/>
                  </a:lnTo>
                  <a:lnTo>
                    <a:pt x="814" y="31"/>
                  </a:lnTo>
                  <a:close/>
                  <a:moveTo>
                    <a:pt x="1071" y="382"/>
                  </a:moveTo>
                  <a:lnTo>
                    <a:pt x="1078" y="382"/>
                  </a:lnTo>
                  <a:lnTo>
                    <a:pt x="1084" y="381"/>
                  </a:lnTo>
                  <a:lnTo>
                    <a:pt x="1098" y="379"/>
                  </a:lnTo>
                  <a:lnTo>
                    <a:pt x="1110" y="376"/>
                  </a:lnTo>
                  <a:lnTo>
                    <a:pt x="1117" y="374"/>
                  </a:lnTo>
                  <a:lnTo>
                    <a:pt x="1123" y="372"/>
                  </a:lnTo>
                  <a:lnTo>
                    <a:pt x="1129" y="369"/>
                  </a:lnTo>
                  <a:lnTo>
                    <a:pt x="1135" y="366"/>
                  </a:lnTo>
                  <a:lnTo>
                    <a:pt x="1146" y="359"/>
                  </a:lnTo>
                  <a:lnTo>
                    <a:pt x="1156" y="351"/>
                  </a:lnTo>
                  <a:lnTo>
                    <a:pt x="1166" y="343"/>
                  </a:lnTo>
                  <a:lnTo>
                    <a:pt x="1175" y="333"/>
                  </a:lnTo>
                  <a:lnTo>
                    <a:pt x="1179" y="328"/>
                  </a:lnTo>
                  <a:lnTo>
                    <a:pt x="1182" y="323"/>
                  </a:lnTo>
                  <a:lnTo>
                    <a:pt x="1186" y="317"/>
                  </a:lnTo>
                  <a:lnTo>
                    <a:pt x="1189" y="312"/>
                  </a:lnTo>
                  <a:lnTo>
                    <a:pt x="1195" y="299"/>
                  </a:lnTo>
                  <a:lnTo>
                    <a:pt x="1198" y="292"/>
                  </a:lnTo>
                  <a:lnTo>
                    <a:pt x="1200" y="286"/>
                  </a:lnTo>
                  <a:lnTo>
                    <a:pt x="1203" y="273"/>
                  </a:lnTo>
                  <a:lnTo>
                    <a:pt x="1204" y="266"/>
                  </a:lnTo>
                  <a:lnTo>
                    <a:pt x="1205" y="263"/>
                  </a:lnTo>
                  <a:lnTo>
                    <a:pt x="1205" y="259"/>
                  </a:lnTo>
                  <a:lnTo>
                    <a:pt x="1206" y="252"/>
                  </a:lnTo>
                  <a:lnTo>
                    <a:pt x="1206" y="245"/>
                  </a:lnTo>
                  <a:lnTo>
                    <a:pt x="1206" y="238"/>
                  </a:lnTo>
                  <a:lnTo>
                    <a:pt x="1205" y="232"/>
                  </a:lnTo>
                  <a:lnTo>
                    <a:pt x="1203" y="219"/>
                  </a:lnTo>
                  <a:lnTo>
                    <a:pt x="1202" y="213"/>
                  </a:lnTo>
                  <a:lnTo>
                    <a:pt x="1200" y="206"/>
                  </a:lnTo>
                  <a:lnTo>
                    <a:pt x="1195" y="195"/>
                  </a:lnTo>
                  <a:lnTo>
                    <a:pt x="1189" y="183"/>
                  </a:lnTo>
                  <a:lnTo>
                    <a:pt x="1182" y="173"/>
                  </a:lnTo>
                  <a:lnTo>
                    <a:pt x="1179" y="168"/>
                  </a:lnTo>
                  <a:lnTo>
                    <a:pt x="1175" y="163"/>
                  </a:lnTo>
                  <a:lnTo>
                    <a:pt x="1170" y="158"/>
                  </a:lnTo>
                  <a:lnTo>
                    <a:pt x="1166" y="154"/>
                  </a:lnTo>
                  <a:lnTo>
                    <a:pt x="1156" y="146"/>
                  </a:lnTo>
                  <a:lnTo>
                    <a:pt x="1146" y="139"/>
                  </a:lnTo>
                  <a:lnTo>
                    <a:pt x="1135" y="132"/>
                  </a:lnTo>
                  <a:lnTo>
                    <a:pt x="1129" y="130"/>
                  </a:lnTo>
                  <a:lnTo>
                    <a:pt x="1123" y="127"/>
                  </a:lnTo>
                  <a:lnTo>
                    <a:pt x="1110" y="123"/>
                  </a:lnTo>
                  <a:lnTo>
                    <a:pt x="1098" y="120"/>
                  </a:lnTo>
                  <a:lnTo>
                    <a:pt x="1084" y="118"/>
                  </a:lnTo>
                  <a:lnTo>
                    <a:pt x="1071" y="117"/>
                  </a:lnTo>
                  <a:lnTo>
                    <a:pt x="924" y="117"/>
                  </a:lnTo>
                  <a:lnTo>
                    <a:pt x="924" y="382"/>
                  </a:lnTo>
                  <a:lnTo>
                    <a:pt x="1071" y="382"/>
                  </a:lnTo>
                  <a:close/>
                  <a:moveTo>
                    <a:pt x="1793" y="0"/>
                  </a:moveTo>
                  <a:lnTo>
                    <a:pt x="1812" y="1"/>
                  </a:lnTo>
                  <a:lnTo>
                    <a:pt x="1832" y="2"/>
                  </a:lnTo>
                  <a:lnTo>
                    <a:pt x="1851" y="5"/>
                  </a:lnTo>
                  <a:lnTo>
                    <a:pt x="1871" y="8"/>
                  </a:lnTo>
                  <a:lnTo>
                    <a:pt x="1890" y="12"/>
                  </a:lnTo>
                  <a:lnTo>
                    <a:pt x="1899" y="15"/>
                  </a:lnTo>
                  <a:lnTo>
                    <a:pt x="1908" y="18"/>
                  </a:lnTo>
                  <a:lnTo>
                    <a:pt x="1917" y="20"/>
                  </a:lnTo>
                  <a:lnTo>
                    <a:pt x="1926" y="24"/>
                  </a:lnTo>
                  <a:lnTo>
                    <a:pt x="1943" y="30"/>
                  </a:lnTo>
                  <a:lnTo>
                    <a:pt x="1960" y="38"/>
                  </a:lnTo>
                  <a:lnTo>
                    <a:pt x="1977" y="47"/>
                  </a:lnTo>
                  <a:lnTo>
                    <a:pt x="1993" y="56"/>
                  </a:lnTo>
                  <a:lnTo>
                    <a:pt x="2008" y="66"/>
                  </a:lnTo>
                  <a:lnTo>
                    <a:pt x="2023" y="76"/>
                  </a:lnTo>
                  <a:lnTo>
                    <a:pt x="2038" y="88"/>
                  </a:lnTo>
                  <a:lnTo>
                    <a:pt x="2052" y="100"/>
                  </a:lnTo>
                  <a:lnTo>
                    <a:pt x="2058" y="106"/>
                  </a:lnTo>
                  <a:lnTo>
                    <a:pt x="2065" y="113"/>
                  </a:lnTo>
                  <a:lnTo>
                    <a:pt x="2077" y="126"/>
                  </a:lnTo>
                  <a:lnTo>
                    <a:pt x="2089" y="140"/>
                  </a:lnTo>
                  <a:lnTo>
                    <a:pt x="2095" y="147"/>
                  </a:lnTo>
                  <a:lnTo>
                    <a:pt x="2101" y="154"/>
                  </a:lnTo>
                  <a:lnTo>
                    <a:pt x="2111" y="169"/>
                  </a:lnTo>
                  <a:lnTo>
                    <a:pt x="2121" y="185"/>
                  </a:lnTo>
                  <a:lnTo>
                    <a:pt x="2131" y="201"/>
                  </a:lnTo>
                  <a:lnTo>
                    <a:pt x="2139" y="218"/>
                  </a:lnTo>
                  <a:lnTo>
                    <a:pt x="2147" y="235"/>
                  </a:lnTo>
                  <a:lnTo>
                    <a:pt x="2150" y="243"/>
                  </a:lnTo>
                  <a:lnTo>
                    <a:pt x="2153" y="252"/>
                  </a:lnTo>
                  <a:lnTo>
                    <a:pt x="2159" y="270"/>
                  </a:lnTo>
                  <a:lnTo>
                    <a:pt x="2165" y="288"/>
                  </a:lnTo>
                  <a:lnTo>
                    <a:pt x="2169" y="308"/>
                  </a:lnTo>
                  <a:lnTo>
                    <a:pt x="2171" y="317"/>
                  </a:lnTo>
                  <a:lnTo>
                    <a:pt x="2172" y="327"/>
                  </a:lnTo>
                  <a:lnTo>
                    <a:pt x="2175" y="346"/>
                  </a:lnTo>
                  <a:lnTo>
                    <a:pt x="2176" y="366"/>
                  </a:lnTo>
                  <a:lnTo>
                    <a:pt x="2177" y="385"/>
                  </a:lnTo>
                  <a:lnTo>
                    <a:pt x="2176" y="405"/>
                  </a:lnTo>
                  <a:lnTo>
                    <a:pt x="2175" y="425"/>
                  </a:lnTo>
                  <a:lnTo>
                    <a:pt x="2172" y="444"/>
                  </a:lnTo>
                  <a:lnTo>
                    <a:pt x="2169" y="463"/>
                  </a:lnTo>
                  <a:lnTo>
                    <a:pt x="2165" y="481"/>
                  </a:lnTo>
                  <a:lnTo>
                    <a:pt x="2162" y="491"/>
                  </a:lnTo>
                  <a:lnTo>
                    <a:pt x="2159" y="500"/>
                  </a:lnTo>
                  <a:lnTo>
                    <a:pt x="2157" y="509"/>
                  </a:lnTo>
                  <a:lnTo>
                    <a:pt x="2153" y="517"/>
                  </a:lnTo>
                  <a:lnTo>
                    <a:pt x="2147" y="535"/>
                  </a:lnTo>
                  <a:lnTo>
                    <a:pt x="2139" y="552"/>
                  </a:lnTo>
                  <a:lnTo>
                    <a:pt x="2131" y="568"/>
                  </a:lnTo>
                  <a:lnTo>
                    <a:pt x="2121" y="584"/>
                  </a:lnTo>
                  <a:lnTo>
                    <a:pt x="2111" y="600"/>
                  </a:lnTo>
                  <a:lnTo>
                    <a:pt x="2101" y="615"/>
                  </a:lnTo>
                  <a:lnTo>
                    <a:pt x="2089" y="629"/>
                  </a:lnTo>
                  <a:lnTo>
                    <a:pt x="2077" y="643"/>
                  </a:lnTo>
                  <a:lnTo>
                    <a:pt x="2071" y="649"/>
                  </a:lnTo>
                  <a:lnTo>
                    <a:pt x="2065" y="656"/>
                  </a:lnTo>
                  <a:lnTo>
                    <a:pt x="2052" y="669"/>
                  </a:lnTo>
                  <a:lnTo>
                    <a:pt x="2038" y="681"/>
                  </a:lnTo>
                  <a:lnTo>
                    <a:pt x="2031" y="686"/>
                  </a:lnTo>
                  <a:lnTo>
                    <a:pt x="2023" y="692"/>
                  </a:lnTo>
                  <a:lnTo>
                    <a:pt x="2008" y="702"/>
                  </a:lnTo>
                  <a:lnTo>
                    <a:pt x="2001" y="707"/>
                  </a:lnTo>
                  <a:lnTo>
                    <a:pt x="1993" y="712"/>
                  </a:lnTo>
                  <a:lnTo>
                    <a:pt x="1977" y="721"/>
                  </a:lnTo>
                  <a:lnTo>
                    <a:pt x="1960" y="730"/>
                  </a:lnTo>
                  <a:lnTo>
                    <a:pt x="1952" y="734"/>
                  </a:lnTo>
                  <a:lnTo>
                    <a:pt x="1943" y="737"/>
                  </a:lnTo>
                  <a:lnTo>
                    <a:pt x="1935" y="741"/>
                  </a:lnTo>
                  <a:lnTo>
                    <a:pt x="1926" y="744"/>
                  </a:lnTo>
                  <a:lnTo>
                    <a:pt x="1908" y="750"/>
                  </a:lnTo>
                  <a:lnTo>
                    <a:pt x="1890" y="755"/>
                  </a:lnTo>
                  <a:lnTo>
                    <a:pt x="1871" y="759"/>
                  </a:lnTo>
                  <a:lnTo>
                    <a:pt x="1851" y="763"/>
                  </a:lnTo>
                  <a:lnTo>
                    <a:pt x="1832" y="765"/>
                  </a:lnTo>
                  <a:lnTo>
                    <a:pt x="1812" y="767"/>
                  </a:lnTo>
                  <a:lnTo>
                    <a:pt x="1793" y="767"/>
                  </a:lnTo>
                  <a:lnTo>
                    <a:pt x="1773" y="767"/>
                  </a:lnTo>
                  <a:lnTo>
                    <a:pt x="1753" y="765"/>
                  </a:lnTo>
                  <a:lnTo>
                    <a:pt x="1734" y="763"/>
                  </a:lnTo>
                  <a:lnTo>
                    <a:pt x="1715" y="759"/>
                  </a:lnTo>
                  <a:lnTo>
                    <a:pt x="1697" y="755"/>
                  </a:lnTo>
                  <a:lnTo>
                    <a:pt x="1678" y="750"/>
                  </a:lnTo>
                  <a:lnTo>
                    <a:pt x="1669" y="747"/>
                  </a:lnTo>
                  <a:lnTo>
                    <a:pt x="1661" y="744"/>
                  </a:lnTo>
                  <a:lnTo>
                    <a:pt x="1643" y="737"/>
                  </a:lnTo>
                  <a:lnTo>
                    <a:pt x="1626" y="730"/>
                  </a:lnTo>
                  <a:lnTo>
                    <a:pt x="1610" y="721"/>
                  </a:lnTo>
                  <a:lnTo>
                    <a:pt x="1594" y="712"/>
                  </a:lnTo>
                  <a:lnTo>
                    <a:pt x="1578" y="702"/>
                  </a:lnTo>
                  <a:lnTo>
                    <a:pt x="1563" y="692"/>
                  </a:lnTo>
                  <a:lnTo>
                    <a:pt x="1549" y="681"/>
                  </a:lnTo>
                  <a:lnTo>
                    <a:pt x="1542" y="675"/>
                  </a:lnTo>
                  <a:lnTo>
                    <a:pt x="1535" y="669"/>
                  </a:lnTo>
                  <a:lnTo>
                    <a:pt x="1522" y="656"/>
                  </a:lnTo>
                  <a:lnTo>
                    <a:pt x="1509" y="643"/>
                  </a:lnTo>
                  <a:lnTo>
                    <a:pt x="1497" y="629"/>
                  </a:lnTo>
                  <a:lnTo>
                    <a:pt x="1492" y="622"/>
                  </a:lnTo>
                  <a:lnTo>
                    <a:pt x="1486" y="615"/>
                  </a:lnTo>
                  <a:lnTo>
                    <a:pt x="1476" y="600"/>
                  </a:lnTo>
                  <a:lnTo>
                    <a:pt x="1471" y="592"/>
                  </a:lnTo>
                  <a:lnTo>
                    <a:pt x="1466" y="584"/>
                  </a:lnTo>
                  <a:lnTo>
                    <a:pt x="1457" y="568"/>
                  </a:lnTo>
                  <a:lnTo>
                    <a:pt x="1448" y="552"/>
                  </a:lnTo>
                  <a:lnTo>
                    <a:pt x="1444" y="543"/>
                  </a:lnTo>
                  <a:lnTo>
                    <a:pt x="1441" y="535"/>
                  </a:lnTo>
                  <a:lnTo>
                    <a:pt x="1437" y="526"/>
                  </a:lnTo>
                  <a:lnTo>
                    <a:pt x="1434" y="517"/>
                  </a:lnTo>
                  <a:lnTo>
                    <a:pt x="1428" y="500"/>
                  </a:lnTo>
                  <a:lnTo>
                    <a:pt x="1423" y="481"/>
                  </a:lnTo>
                  <a:lnTo>
                    <a:pt x="1419" y="463"/>
                  </a:lnTo>
                  <a:lnTo>
                    <a:pt x="1415" y="444"/>
                  </a:lnTo>
                  <a:lnTo>
                    <a:pt x="1413" y="425"/>
                  </a:lnTo>
                  <a:lnTo>
                    <a:pt x="1411" y="405"/>
                  </a:lnTo>
                  <a:lnTo>
                    <a:pt x="1411" y="385"/>
                  </a:lnTo>
                  <a:lnTo>
                    <a:pt x="1411" y="366"/>
                  </a:lnTo>
                  <a:lnTo>
                    <a:pt x="1413" y="346"/>
                  </a:lnTo>
                  <a:lnTo>
                    <a:pt x="1415" y="327"/>
                  </a:lnTo>
                  <a:lnTo>
                    <a:pt x="1419" y="308"/>
                  </a:lnTo>
                  <a:lnTo>
                    <a:pt x="1423" y="288"/>
                  </a:lnTo>
                  <a:lnTo>
                    <a:pt x="1428" y="270"/>
                  </a:lnTo>
                  <a:lnTo>
                    <a:pt x="1431" y="261"/>
                  </a:lnTo>
                  <a:lnTo>
                    <a:pt x="1434" y="252"/>
                  </a:lnTo>
                  <a:lnTo>
                    <a:pt x="1437" y="243"/>
                  </a:lnTo>
                  <a:lnTo>
                    <a:pt x="1441" y="235"/>
                  </a:lnTo>
                  <a:lnTo>
                    <a:pt x="1448" y="218"/>
                  </a:lnTo>
                  <a:lnTo>
                    <a:pt x="1457" y="201"/>
                  </a:lnTo>
                  <a:lnTo>
                    <a:pt x="1466" y="185"/>
                  </a:lnTo>
                  <a:lnTo>
                    <a:pt x="1476" y="169"/>
                  </a:lnTo>
                  <a:lnTo>
                    <a:pt x="1486" y="154"/>
                  </a:lnTo>
                  <a:lnTo>
                    <a:pt x="1497" y="140"/>
                  </a:lnTo>
                  <a:lnTo>
                    <a:pt x="1503" y="133"/>
                  </a:lnTo>
                  <a:lnTo>
                    <a:pt x="1509" y="126"/>
                  </a:lnTo>
                  <a:lnTo>
                    <a:pt x="1522" y="113"/>
                  </a:lnTo>
                  <a:lnTo>
                    <a:pt x="1535" y="100"/>
                  </a:lnTo>
                  <a:lnTo>
                    <a:pt x="1542" y="94"/>
                  </a:lnTo>
                  <a:lnTo>
                    <a:pt x="1549" y="88"/>
                  </a:lnTo>
                  <a:lnTo>
                    <a:pt x="1563" y="76"/>
                  </a:lnTo>
                  <a:lnTo>
                    <a:pt x="1578" y="66"/>
                  </a:lnTo>
                  <a:lnTo>
                    <a:pt x="1594" y="56"/>
                  </a:lnTo>
                  <a:lnTo>
                    <a:pt x="1610" y="47"/>
                  </a:lnTo>
                  <a:lnTo>
                    <a:pt x="1626" y="38"/>
                  </a:lnTo>
                  <a:lnTo>
                    <a:pt x="1643" y="30"/>
                  </a:lnTo>
                  <a:lnTo>
                    <a:pt x="1652" y="27"/>
                  </a:lnTo>
                  <a:lnTo>
                    <a:pt x="1661" y="24"/>
                  </a:lnTo>
                  <a:lnTo>
                    <a:pt x="1669" y="20"/>
                  </a:lnTo>
                  <a:lnTo>
                    <a:pt x="1678" y="18"/>
                  </a:lnTo>
                  <a:lnTo>
                    <a:pt x="1697" y="12"/>
                  </a:lnTo>
                  <a:lnTo>
                    <a:pt x="1715" y="8"/>
                  </a:lnTo>
                  <a:lnTo>
                    <a:pt x="1725" y="6"/>
                  </a:lnTo>
                  <a:lnTo>
                    <a:pt x="1734" y="5"/>
                  </a:lnTo>
                  <a:lnTo>
                    <a:pt x="1753" y="2"/>
                  </a:lnTo>
                  <a:lnTo>
                    <a:pt x="1773" y="1"/>
                  </a:lnTo>
                  <a:lnTo>
                    <a:pt x="1793" y="0"/>
                  </a:lnTo>
                  <a:close/>
                  <a:moveTo>
                    <a:pt x="1793" y="661"/>
                  </a:moveTo>
                  <a:lnTo>
                    <a:pt x="1807" y="660"/>
                  </a:lnTo>
                  <a:lnTo>
                    <a:pt x="1821" y="659"/>
                  </a:lnTo>
                  <a:lnTo>
                    <a:pt x="1835" y="658"/>
                  </a:lnTo>
                  <a:lnTo>
                    <a:pt x="1848" y="655"/>
                  </a:lnTo>
                  <a:lnTo>
                    <a:pt x="1862" y="652"/>
                  </a:lnTo>
                  <a:lnTo>
                    <a:pt x="1876" y="648"/>
                  </a:lnTo>
                  <a:lnTo>
                    <a:pt x="1888" y="644"/>
                  </a:lnTo>
                  <a:lnTo>
                    <a:pt x="1901" y="639"/>
                  </a:lnTo>
                  <a:lnTo>
                    <a:pt x="1913" y="634"/>
                  </a:lnTo>
                  <a:lnTo>
                    <a:pt x="1925" y="628"/>
                  </a:lnTo>
                  <a:lnTo>
                    <a:pt x="1931" y="624"/>
                  </a:lnTo>
                  <a:lnTo>
                    <a:pt x="1937" y="621"/>
                  </a:lnTo>
                  <a:lnTo>
                    <a:pt x="1948" y="614"/>
                  </a:lnTo>
                  <a:lnTo>
                    <a:pt x="1959" y="606"/>
                  </a:lnTo>
                  <a:lnTo>
                    <a:pt x="1969" y="598"/>
                  </a:lnTo>
                  <a:lnTo>
                    <a:pt x="1979" y="589"/>
                  </a:lnTo>
                  <a:lnTo>
                    <a:pt x="1989" y="580"/>
                  </a:lnTo>
                  <a:lnTo>
                    <a:pt x="1998" y="571"/>
                  </a:lnTo>
                  <a:lnTo>
                    <a:pt x="2007" y="561"/>
                  </a:lnTo>
                  <a:lnTo>
                    <a:pt x="2015" y="550"/>
                  </a:lnTo>
                  <a:lnTo>
                    <a:pt x="2023" y="539"/>
                  </a:lnTo>
                  <a:lnTo>
                    <a:pt x="2030" y="528"/>
                  </a:lnTo>
                  <a:lnTo>
                    <a:pt x="2037" y="517"/>
                  </a:lnTo>
                  <a:lnTo>
                    <a:pt x="2043" y="505"/>
                  </a:lnTo>
                  <a:lnTo>
                    <a:pt x="2048" y="493"/>
                  </a:lnTo>
                  <a:lnTo>
                    <a:pt x="2053" y="480"/>
                  </a:lnTo>
                  <a:lnTo>
                    <a:pt x="2058" y="467"/>
                  </a:lnTo>
                  <a:lnTo>
                    <a:pt x="2061" y="454"/>
                  </a:lnTo>
                  <a:lnTo>
                    <a:pt x="2065" y="441"/>
                  </a:lnTo>
                  <a:lnTo>
                    <a:pt x="2067" y="427"/>
                  </a:lnTo>
                  <a:lnTo>
                    <a:pt x="2069" y="413"/>
                  </a:lnTo>
                  <a:lnTo>
                    <a:pt x="2070" y="399"/>
                  </a:lnTo>
                  <a:lnTo>
                    <a:pt x="2070" y="385"/>
                  </a:lnTo>
                  <a:lnTo>
                    <a:pt x="2070" y="371"/>
                  </a:lnTo>
                  <a:lnTo>
                    <a:pt x="2069" y="357"/>
                  </a:lnTo>
                  <a:lnTo>
                    <a:pt x="2067" y="344"/>
                  </a:lnTo>
                  <a:lnTo>
                    <a:pt x="2065" y="330"/>
                  </a:lnTo>
                  <a:lnTo>
                    <a:pt x="2061" y="317"/>
                  </a:lnTo>
                  <a:lnTo>
                    <a:pt x="2058" y="304"/>
                  </a:lnTo>
                  <a:lnTo>
                    <a:pt x="2053" y="290"/>
                  </a:lnTo>
                  <a:lnTo>
                    <a:pt x="2048" y="277"/>
                  </a:lnTo>
                  <a:lnTo>
                    <a:pt x="2043" y="265"/>
                  </a:lnTo>
                  <a:lnTo>
                    <a:pt x="2037" y="253"/>
                  </a:lnTo>
                  <a:lnTo>
                    <a:pt x="2030" y="241"/>
                  </a:lnTo>
                  <a:lnTo>
                    <a:pt x="2023" y="230"/>
                  </a:lnTo>
                  <a:lnTo>
                    <a:pt x="2015" y="219"/>
                  </a:lnTo>
                  <a:lnTo>
                    <a:pt x="2007" y="209"/>
                  </a:lnTo>
                  <a:lnTo>
                    <a:pt x="1998" y="199"/>
                  </a:lnTo>
                  <a:lnTo>
                    <a:pt x="1989" y="189"/>
                  </a:lnTo>
                  <a:lnTo>
                    <a:pt x="1979" y="180"/>
                  </a:lnTo>
                  <a:lnTo>
                    <a:pt x="1969" y="171"/>
                  </a:lnTo>
                  <a:lnTo>
                    <a:pt x="1959" y="163"/>
                  </a:lnTo>
                  <a:lnTo>
                    <a:pt x="1948" y="155"/>
                  </a:lnTo>
                  <a:lnTo>
                    <a:pt x="1937" y="147"/>
                  </a:lnTo>
                  <a:lnTo>
                    <a:pt x="1925" y="141"/>
                  </a:lnTo>
                  <a:lnTo>
                    <a:pt x="1913" y="135"/>
                  </a:lnTo>
                  <a:lnTo>
                    <a:pt x="1901" y="129"/>
                  </a:lnTo>
                  <a:lnTo>
                    <a:pt x="1888" y="124"/>
                  </a:lnTo>
                  <a:lnTo>
                    <a:pt x="1876" y="119"/>
                  </a:lnTo>
                  <a:lnTo>
                    <a:pt x="1862" y="116"/>
                  </a:lnTo>
                  <a:lnTo>
                    <a:pt x="1848" y="113"/>
                  </a:lnTo>
                  <a:lnTo>
                    <a:pt x="1835" y="110"/>
                  </a:lnTo>
                  <a:lnTo>
                    <a:pt x="1821" y="108"/>
                  </a:lnTo>
                  <a:lnTo>
                    <a:pt x="1807" y="107"/>
                  </a:lnTo>
                  <a:lnTo>
                    <a:pt x="1793" y="107"/>
                  </a:lnTo>
                  <a:lnTo>
                    <a:pt x="1779" y="107"/>
                  </a:lnTo>
                  <a:lnTo>
                    <a:pt x="1765" y="108"/>
                  </a:lnTo>
                  <a:lnTo>
                    <a:pt x="1751" y="110"/>
                  </a:lnTo>
                  <a:lnTo>
                    <a:pt x="1737" y="113"/>
                  </a:lnTo>
                  <a:lnTo>
                    <a:pt x="1724" y="116"/>
                  </a:lnTo>
                  <a:lnTo>
                    <a:pt x="1711" y="119"/>
                  </a:lnTo>
                  <a:lnTo>
                    <a:pt x="1698" y="124"/>
                  </a:lnTo>
                  <a:lnTo>
                    <a:pt x="1686" y="129"/>
                  </a:lnTo>
                  <a:lnTo>
                    <a:pt x="1674" y="135"/>
                  </a:lnTo>
                  <a:lnTo>
                    <a:pt x="1662" y="141"/>
                  </a:lnTo>
                  <a:lnTo>
                    <a:pt x="1650" y="147"/>
                  </a:lnTo>
                  <a:lnTo>
                    <a:pt x="1639" y="155"/>
                  </a:lnTo>
                  <a:lnTo>
                    <a:pt x="1628" y="163"/>
                  </a:lnTo>
                  <a:lnTo>
                    <a:pt x="1618" y="171"/>
                  </a:lnTo>
                  <a:lnTo>
                    <a:pt x="1608" y="180"/>
                  </a:lnTo>
                  <a:lnTo>
                    <a:pt x="1598" y="189"/>
                  </a:lnTo>
                  <a:lnTo>
                    <a:pt x="1589" y="199"/>
                  </a:lnTo>
                  <a:lnTo>
                    <a:pt x="1580" y="209"/>
                  </a:lnTo>
                  <a:lnTo>
                    <a:pt x="1572" y="219"/>
                  </a:lnTo>
                  <a:lnTo>
                    <a:pt x="1565" y="230"/>
                  </a:lnTo>
                  <a:lnTo>
                    <a:pt x="1557" y="241"/>
                  </a:lnTo>
                  <a:lnTo>
                    <a:pt x="1551" y="253"/>
                  </a:lnTo>
                  <a:lnTo>
                    <a:pt x="1545" y="265"/>
                  </a:lnTo>
                  <a:lnTo>
                    <a:pt x="1539" y="277"/>
                  </a:lnTo>
                  <a:lnTo>
                    <a:pt x="1534" y="290"/>
                  </a:lnTo>
                  <a:lnTo>
                    <a:pt x="1530" y="304"/>
                  </a:lnTo>
                  <a:lnTo>
                    <a:pt x="1526" y="317"/>
                  </a:lnTo>
                  <a:lnTo>
                    <a:pt x="1523" y="330"/>
                  </a:lnTo>
                  <a:lnTo>
                    <a:pt x="1520" y="344"/>
                  </a:lnTo>
                  <a:lnTo>
                    <a:pt x="1519" y="357"/>
                  </a:lnTo>
                  <a:lnTo>
                    <a:pt x="1518" y="371"/>
                  </a:lnTo>
                  <a:lnTo>
                    <a:pt x="1517" y="385"/>
                  </a:lnTo>
                  <a:lnTo>
                    <a:pt x="1518" y="399"/>
                  </a:lnTo>
                  <a:lnTo>
                    <a:pt x="1519" y="413"/>
                  </a:lnTo>
                  <a:lnTo>
                    <a:pt x="1520" y="427"/>
                  </a:lnTo>
                  <a:lnTo>
                    <a:pt x="1523" y="441"/>
                  </a:lnTo>
                  <a:lnTo>
                    <a:pt x="1526" y="454"/>
                  </a:lnTo>
                  <a:lnTo>
                    <a:pt x="1530" y="467"/>
                  </a:lnTo>
                  <a:lnTo>
                    <a:pt x="1534" y="480"/>
                  </a:lnTo>
                  <a:lnTo>
                    <a:pt x="1539" y="493"/>
                  </a:lnTo>
                  <a:lnTo>
                    <a:pt x="1545" y="505"/>
                  </a:lnTo>
                  <a:lnTo>
                    <a:pt x="1551" y="517"/>
                  </a:lnTo>
                  <a:lnTo>
                    <a:pt x="1557" y="528"/>
                  </a:lnTo>
                  <a:lnTo>
                    <a:pt x="1565" y="539"/>
                  </a:lnTo>
                  <a:lnTo>
                    <a:pt x="1572" y="550"/>
                  </a:lnTo>
                  <a:lnTo>
                    <a:pt x="1580" y="561"/>
                  </a:lnTo>
                  <a:lnTo>
                    <a:pt x="1589" y="571"/>
                  </a:lnTo>
                  <a:lnTo>
                    <a:pt x="1598" y="580"/>
                  </a:lnTo>
                  <a:lnTo>
                    <a:pt x="1608" y="589"/>
                  </a:lnTo>
                  <a:lnTo>
                    <a:pt x="1618" y="598"/>
                  </a:lnTo>
                  <a:lnTo>
                    <a:pt x="1628" y="606"/>
                  </a:lnTo>
                  <a:lnTo>
                    <a:pt x="1639" y="614"/>
                  </a:lnTo>
                  <a:lnTo>
                    <a:pt x="1650" y="621"/>
                  </a:lnTo>
                  <a:lnTo>
                    <a:pt x="1662" y="628"/>
                  </a:lnTo>
                  <a:lnTo>
                    <a:pt x="1674" y="634"/>
                  </a:lnTo>
                  <a:lnTo>
                    <a:pt x="1686" y="639"/>
                  </a:lnTo>
                  <a:lnTo>
                    <a:pt x="1698" y="644"/>
                  </a:lnTo>
                  <a:lnTo>
                    <a:pt x="1711" y="648"/>
                  </a:lnTo>
                  <a:lnTo>
                    <a:pt x="1724" y="652"/>
                  </a:lnTo>
                  <a:lnTo>
                    <a:pt x="1737" y="655"/>
                  </a:lnTo>
                  <a:lnTo>
                    <a:pt x="1751" y="658"/>
                  </a:lnTo>
                  <a:lnTo>
                    <a:pt x="1765" y="659"/>
                  </a:lnTo>
                  <a:lnTo>
                    <a:pt x="1779" y="660"/>
                  </a:lnTo>
                  <a:lnTo>
                    <a:pt x="1793" y="661"/>
                  </a:lnTo>
                  <a:close/>
                  <a:moveTo>
                    <a:pt x="2426" y="111"/>
                  </a:moveTo>
                  <a:lnTo>
                    <a:pt x="2235" y="111"/>
                  </a:lnTo>
                  <a:lnTo>
                    <a:pt x="2230" y="111"/>
                  </a:lnTo>
                  <a:lnTo>
                    <a:pt x="2227" y="109"/>
                  </a:lnTo>
                  <a:lnTo>
                    <a:pt x="2223" y="107"/>
                  </a:lnTo>
                  <a:lnTo>
                    <a:pt x="2220" y="105"/>
                  </a:lnTo>
                  <a:lnTo>
                    <a:pt x="2218" y="102"/>
                  </a:lnTo>
                  <a:lnTo>
                    <a:pt x="2216" y="98"/>
                  </a:lnTo>
                  <a:lnTo>
                    <a:pt x="2215" y="95"/>
                  </a:lnTo>
                  <a:lnTo>
                    <a:pt x="2214" y="91"/>
                  </a:lnTo>
                  <a:lnTo>
                    <a:pt x="2214" y="31"/>
                  </a:lnTo>
                  <a:lnTo>
                    <a:pt x="2215" y="27"/>
                  </a:lnTo>
                  <a:lnTo>
                    <a:pt x="2216" y="24"/>
                  </a:lnTo>
                  <a:lnTo>
                    <a:pt x="2218" y="20"/>
                  </a:lnTo>
                  <a:lnTo>
                    <a:pt x="2220" y="17"/>
                  </a:lnTo>
                  <a:lnTo>
                    <a:pt x="2223" y="15"/>
                  </a:lnTo>
                  <a:lnTo>
                    <a:pt x="2227" y="13"/>
                  </a:lnTo>
                  <a:lnTo>
                    <a:pt x="2230" y="11"/>
                  </a:lnTo>
                  <a:lnTo>
                    <a:pt x="2235" y="11"/>
                  </a:lnTo>
                  <a:lnTo>
                    <a:pt x="2727" y="11"/>
                  </a:lnTo>
                  <a:lnTo>
                    <a:pt x="2732" y="11"/>
                  </a:lnTo>
                  <a:lnTo>
                    <a:pt x="2736" y="13"/>
                  </a:lnTo>
                  <a:lnTo>
                    <a:pt x="2739" y="15"/>
                  </a:lnTo>
                  <a:lnTo>
                    <a:pt x="2742" y="17"/>
                  </a:lnTo>
                  <a:lnTo>
                    <a:pt x="2744" y="20"/>
                  </a:lnTo>
                  <a:lnTo>
                    <a:pt x="2746" y="24"/>
                  </a:lnTo>
                  <a:lnTo>
                    <a:pt x="2747" y="27"/>
                  </a:lnTo>
                  <a:lnTo>
                    <a:pt x="2748" y="31"/>
                  </a:lnTo>
                  <a:lnTo>
                    <a:pt x="2748" y="91"/>
                  </a:lnTo>
                  <a:lnTo>
                    <a:pt x="2747" y="95"/>
                  </a:lnTo>
                  <a:lnTo>
                    <a:pt x="2746" y="98"/>
                  </a:lnTo>
                  <a:lnTo>
                    <a:pt x="2744" y="102"/>
                  </a:lnTo>
                  <a:lnTo>
                    <a:pt x="2742" y="105"/>
                  </a:lnTo>
                  <a:lnTo>
                    <a:pt x="2739" y="107"/>
                  </a:lnTo>
                  <a:lnTo>
                    <a:pt x="2736" y="109"/>
                  </a:lnTo>
                  <a:lnTo>
                    <a:pt x="2732" y="111"/>
                  </a:lnTo>
                  <a:lnTo>
                    <a:pt x="2727" y="111"/>
                  </a:lnTo>
                  <a:lnTo>
                    <a:pt x="2536" y="111"/>
                  </a:lnTo>
                  <a:lnTo>
                    <a:pt x="2536" y="736"/>
                  </a:lnTo>
                  <a:lnTo>
                    <a:pt x="2536" y="740"/>
                  </a:lnTo>
                  <a:lnTo>
                    <a:pt x="2535" y="744"/>
                  </a:lnTo>
                  <a:lnTo>
                    <a:pt x="2533" y="747"/>
                  </a:lnTo>
                  <a:lnTo>
                    <a:pt x="2530" y="750"/>
                  </a:lnTo>
                  <a:lnTo>
                    <a:pt x="2527" y="753"/>
                  </a:lnTo>
                  <a:lnTo>
                    <a:pt x="2524" y="755"/>
                  </a:lnTo>
                  <a:lnTo>
                    <a:pt x="2520" y="756"/>
                  </a:lnTo>
                  <a:lnTo>
                    <a:pt x="2516" y="757"/>
                  </a:lnTo>
                  <a:lnTo>
                    <a:pt x="2446" y="757"/>
                  </a:lnTo>
                  <a:lnTo>
                    <a:pt x="2442" y="756"/>
                  </a:lnTo>
                  <a:lnTo>
                    <a:pt x="2438" y="755"/>
                  </a:lnTo>
                  <a:lnTo>
                    <a:pt x="2435" y="753"/>
                  </a:lnTo>
                  <a:lnTo>
                    <a:pt x="2432" y="750"/>
                  </a:lnTo>
                  <a:lnTo>
                    <a:pt x="2429" y="747"/>
                  </a:lnTo>
                  <a:lnTo>
                    <a:pt x="2427" y="744"/>
                  </a:lnTo>
                  <a:lnTo>
                    <a:pt x="2426" y="740"/>
                  </a:lnTo>
                  <a:lnTo>
                    <a:pt x="2426" y="736"/>
                  </a:lnTo>
                  <a:lnTo>
                    <a:pt x="2426" y="111"/>
                  </a:lnTo>
                  <a:close/>
                  <a:moveTo>
                    <a:pt x="2885" y="31"/>
                  </a:moveTo>
                  <a:lnTo>
                    <a:pt x="2885" y="27"/>
                  </a:lnTo>
                  <a:lnTo>
                    <a:pt x="2886" y="24"/>
                  </a:lnTo>
                  <a:lnTo>
                    <a:pt x="2888" y="20"/>
                  </a:lnTo>
                  <a:lnTo>
                    <a:pt x="2891" y="17"/>
                  </a:lnTo>
                  <a:lnTo>
                    <a:pt x="2893" y="15"/>
                  </a:lnTo>
                  <a:lnTo>
                    <a:pt x="2897" y="13"/>
                  </a:lnTo>
                  <a:lnTo>
                    <a:pt x="2901" y="11"/>
                  </a:lnTo>
                  <a:lnTo>
                    <a:pt x="2905" y="11"/>
                  </a:lnTo>
                  <a:lnTo>
                    <a:pt x="3331" y="11"/>
                  </a:lnTo>
                  <a:lnTo>
                    <a:pt x="3336" y="11"/>
                  </a:lnTo>
                  <a:lnTo>
                    <a:pt x="3340" y="13"/>
                  </a:lnTo>
                  <a:lnTo>
                    <a:pt x="3343" y="15"/>
                  </a:lnTo>
                  <a:lnTo>
                    <a:pt x="3346" y="17"/>
                  </a:lnTo>
                  <a:lnTo>
                    <a:pt x="3348" y="20"/>
                  </a:lnTo>
                  <a:lnTo>
                    <a:pt x="3350" y="24"/>
                  </a:lnTo>
                  <a:lnTo>
                    <a:pt x="3351" y="27"/>
                  </a:lnTo>
                  <a:lnTo>
                    <a:pt x="3352" y="31"/>
                  </a:lnTo>
                  <a:lnTo>
                    <a:pt x="3352" y="91"/>
                  </a:lnTo>
                  <a:lnTo>
                    <a:pt x="3351" y="95"/>
                  </a:lnTo>
                  <a:lnTo>
                    <a:pt x="3350" y="98"/>
                  </a:lnTo>
                  <a:lnTo>
                    <a:pt x="3348" y="102"/>
                  </a:lnTo>
                  <a:lnTo>
                    <a:pt x="3346" y="105"/>
                  </a:lnTo>
                  <a:lnTo>
                    <a:pt x="3343" y="107"/>
                  </a:lnTo>
                  <a:lnTo>
                    <a:pt x="3340" y="109"/>
                  </a:lnTo>
                  <a:lnTo>
                    <a:pt x="3336" y="111"/>
                  </a:lnTo>
                  <a:lnTo>
                    <a:pt x="3331" y="111"/>
                  </a:lnTo>
                  <a:lnTo>
                    <a:pt x="2994" y="111"/>
                  </a:lnTo>
                  <a:lnTo>
                    <a:pt x="2994" y="329"/>
                  </a:lnTo>
                  <a:lnTo>
                    <a:pt x="3278" y="329"/>
                  </a:lnTo>
                  <a:lnTo>
                    <a:pt x="3282" y="329"/>
                  </a:lnTo>
                  <a:lnTo>
                    <a:pt x="3286" y="331"/>
                  </a:lnTo>
                  <a:lnTo>
                    <a:pt x="3289" y="333"/>
                  </a:lnTo>
                  <a:lnTo>
                    <a:pt x="3292" y="335"/>
                  </a:lnTo>
                  <a:lnTo>
                    <a:pt x="3295" y="338"/>
                  </a:lnTo>
                  <a:lnTo>
                    <a:pt x="3297" y="342"/>
                  </a:lnTo>
                  <a:lnTo>
                    <a:pt x="3298" y="345"/>
                  </a:lnTo>
                  <a:lnTo>
                    <a:pt x="3298" y="349"/>
                  </a:lnTo>
                  <a:lnTo>
                    <a:pt x="3298" y="409"/>
                  </a:lnTo>
                  <a:lnTo>
                    <a:pt x="3298" y="413"/>
                  </a:lnTo>
                  <a:lnTo>
                    <a:pt x="3297" y="417"/>
                  </a:lnTo>
                  <a:lnTo>
                    <a:pt x="3295" y="420"/>
                  </a:lnTo>
                  <a:lnTo>
                    <a:pt x="3292" y="423"/>
                  </a:lnTo>
                  <a:lnTo>
                    <a:pt x="3289" y="426"/>
                  </a:lnTo>
                  <a:lnTo>
                    <a:pt x="3286" y="427"/>
                  </a:lnTo>
                  <a:lnTo>
                    <a:pt x="3282" y="429"/>
                  </a:lnTo>
                  <a:lnTo>
                    <a:pt x="3278" y="429"/>
                  </a:lnTo>
                  <a:lnTo>
                    <a:pt x="2994" y="429"/>
                  </a:lnTo>
                  <a:lnTo>
                    <a:pt x="2994" y="658"/>
                  </a:lnTo>
                  <a:lnTo>
                    <a:pt x="3331" y="658"/>
                  </a:lnTo>
                  <a:lnTo>
                    <a:pt x="3336" y="658"/>
                  </a:lnTo>
                  <a:lnTo>
                    <a:pt x="3340" y="659"/>
                  </a:lnTo>
                  <a:lnTo>
                    <a:pt x="3343" y="661"/>
                  </a:lnTo>
                  <a:lnTo>
                    <a:pt x="3346" y="664"/>
                  </a:lnTo>
                  <a:lnTo>
                    <a:pt x="3348" y="667"/>
                  </a:lnTo>
                  <a:lnTo>
                    <a:pt x="3350" y="670"/>
                  </a:lnTo>
                  <a:lnTo>
                    <a:pt x="3351" y="674"/>
                  </a:lnTo>
                  <a:lnTo>
                    <a:pt x="3352" y="678"/>
                  </a:lnTo>
                  <a:lnTo>
                    <a:pt x="3352" y="736"/>
                  </a:lnTo>
                  <a:lnTo>
                    <a:pt x="3351" y="740"/>
                  </a:lnTo>
                  <a:lnTo>
                    <a:pt x="3350" y="744"/>
                  </a:lnTo>
                  <a:lnTo>
                    <a:pt x="3348" y="747"/>
                  </a:lnTo>
                  <a:lnTo>
                    <a:pt x="3346" y="750"/>
                  </a:lnTo>
                  <a:lnTo>
                    <a:pt x="3343" y="753"/>
                  </a:lnTo>
                  <a:lnTo>
                    <a:pt x="3340" y="755"/>
                  </a:lnTo>
                  <a:lnTo>
                    <a:pt x="3336" y="756"/>
                  </a:lnTo>
                  <a:lnTo>
                    <a:pt x="3331" y="757"/>
                  </a:lnTo>
                  <a:lnTo>
                    <a:pt x="2905" y="757"/>
                  </a:lnTo>
                  <a:lnTo>
                    <a:pt x="2901" y="756"/>
                  </a:lnTo>
                  <a:lnTo>
                    <a:pt x="2897" y="755"/>
                  </a:lnTo>
                  <a:lnTo>
                    <a:pt x="2893" y="753"/>
                  </a:lnTo>
                  <a:lnTo>
                    <a:pt x="2891" y="750"/>
                  </a:lnTo>
                  <a:lnTo>
                    <a:pt x="2888" y="747"/>
                  </a:lnTo>
                  <a:lnTo>
                    <a:pt x="2886" y="744"/>
                  </a:lnTo>
                  <a:lnTo>
                    <a:pt x="2885" y="740"/>
                  </a:lnTo>
                  <a:lnTo>
                    <a:pt x="2885" y="736"/>
                  </a:lnTo>
                  <a:lnTo>
                    <a:pt x="2885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7901882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7988" y="1844675"/>
            <a:ext cx="5616002" cy="44640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11" y="1844675"/>
            <a:ext cx="5616002" cy="44640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D8554F-5388-40E1-9354-E2C84D00F470}" type="datetime1">
              <a:rPr lang="fi-FI" smtClean="0"/>
              <a:t>31.3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and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0B285B-2D20-4CC2-81CD-215A1F1E113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07989" y="405386"/>
            <a:ext cx="9432924" cy="719294"/>
          </a:xfrm>
        </p:spPr>
        <p:txBody>
          <a:bodyPr anchor="b" anchorCtr="0"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406361" y="1267945"/>
            <a:ext cx="9434552" cy="504825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419557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hree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7988" y="1844675"/>
            <a:ext cx="3671788" cy="44640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112224" y="1844675"/>
            <a:ext cx="3671788" cy="44640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2B5414-E4FC-4754-87E7-2944E31F6077}" type="datetime1">
              <a:rPr lang="fi-FI" smtClean="0"/>
              <a:t>31.3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and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0B285B-2D20-4CC2-81CD-215A1F1E1130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Content Placeholder 3"/>
          <p:cNvSpPr>
            <a:spLocks noGrp="1"/>
          </p:cNvSpPr>
          <p:nvPr>
            <p:ph sz="half" idx="13"/>
          </p:nvPr>
        </p:nvSpPr>
        <p:spPr>
          <a:xfrm>
            <a:off x="4223740" y="1844675"/>
            <a:ext cx="3744520" cy="44640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41880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1/2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56363" y="1124680"/>
            <a:ext cx="5327650" cy="935324"/>
          </a:xfrm>
        </p:spPr>
        <p:txBody>
          <a:bodyPr anchor="b" anchorCtr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56363" y="2205038"/>
            <a:ext cx="5327649" cy="3744312"/>
          </a:xfrm>
        </p:spPr>
        <p:txBody>
          <a:bodyPr/>
          <a:lstStyle>
            <a:lvl1pPr marL="0" indent="0">
              <a:buNone/>
              <a:defRPr sz="2200"/>
            </a:lvl1pPr>
            <a:lvl2pPr marL="357188" indent="-265113">
              <a:defRPr/>
            </a:lvl2pPr>
            <a:lvl3pPr marL="714375" indent="-265113">
              <a:defRPr/>
            </a:lvl3pPr>
            <a:lvl4pPr marL="1071563" indent="-265113">
              <a:defRPr/>
            </a:lvl4pPr>
            <a:lvl5pPr marL="1438275" indent="-274638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24563" cy="6777038"/>
          </a:xfr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75A02A-E039-4CA9-BD20-BB0EC57C4849}" type="datetime1">
              <a:rPr lang="fi-FI" smtClean="0"/>
              <a:t>31.3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and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0B285B-2D20-4CC2-81CD-215A1F1E11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624060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1/3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9770" y="1124680"/>
            <a:ext cx="7344243" cy="935324"/>
          </a:xfrm>
        </p:spPr>
        <p:txBody>
          <a:bodyPr anchor="b" anchorCtr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39771" y="2205038"/>
            <a:ext cx="7344242" cy="3744312"/>
          </a:xfrm>
        </p:spPr>
        <p:txBody>
          <a:bodyPr/>
          <a:lstStyle>
            <a:lvl1pPr marL="0" indent="0">
              <a:buNone/>
              <a:defRPr sz="2200"/>
            </a:lvl1pPr>
            <a:lvl2pPr marL="357188" indent="-265113">
              <a:defRPr/>
            </a:lvl2pPr>
            <a:lvl3pPr marL="714375" indent="-265113">
              <a:defRPr/>
            </a:lvl3pPr>
            <a:lvl4pPr marL="1071563" indent="-265113">
              <a:defRPr/>
            </a:lvl4pPr>
            <a:lvl5pPr marL="1438275" indent="-274638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4007709" cy="6777038"/>
          </a:xfr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3D6A36-B79C-4441-B223-D3078DC8C4E4}" type="datetime1">
              <a:rPr lang="fi-FI" smtClean="0"/>
              <a:t>31.3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and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0B285B-2D20-4CC2-81CD-215A1F1E11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41763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777038"/>
          </a:xfr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4652963"/>
            <a:ext cx="12192000" cy="2124075"/>
          </a:xfrm>
          <a:solidFill>
            <a:srgbClr val="756F6F">
              <a:alpha val="40000"/>
            </a:srgbClr>
          </a:solidFill>
        </p:spPr>
        <p:txBody>
          <a:bodyPr lIns="756000" tIns="504000" rIns="756000" bIns="936000" anchor="t" anchorCtr="0"/>
          <a:lstStyle>
            <a:lvl1pPr algn="l">
              <a:lnSpc>
                <a:spcPct val="85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6763" y="5949350"/>
            <a:ext cx="11017249" cy="359374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A180A450-C082-4E98-A68B-F5A1D1A318D9}" type="datetime1">
              <a:rPr lang="fi-FI" smtClean="0"/>
              <a:t>31.3.2025</a:t>
            </a:fld>
            <a:endParaRPr lang="en-US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Presentation name and Author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50B285B-2D20-4CC2-81CD-215A1F1E113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10081990" y="404580"/>
            <a:ext cx="1702800" cy="270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717588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777038"/>
          </a:xfr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75A02A-E039-4CA9-BD20-BB0EC57C4849}" type="datetime1">
              <a:rPr lang="fi-FI" smtClean="0"/>
              <a:t>31.3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and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0B285B-2D20-4CC2-81CD-215A1F1E1130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9" name="Rectangle 8"/>
          <p:cNvSpPr/>
          <p:nvPr userDrawn="1"/>
        </p:nvSpPr>
        <p:spPr>
          <a:xfrm rot="10800000">
            <a:off x="-3" y="6777038"/>
            <a:ext cx="9840916" cy="809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 rot="10800000">
            <a:off x="9840910" y="6777038"/>
            <a:ext cx="2351087" cy="8096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cap="none" spc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10081990" y="404580"/>
            <a:ext cx="1702800" cy="270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5888960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777038"/>
          </a:xfr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75A02A-E039-4CA9-BD20-BB0EC57C4849}" type="datetime1">
              <a:rPr lang="fi-FI" smtClean="0"/>
              <a:t>31.3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and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0B285B-2D20-4CC2-81CD-215A1F1E113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 rot="10800000">
            <a:off x="-3" y="6777038"/>
            <a:ext cx="9840916" cy="809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 rot="10800000">
            <a:off x="9840910" y="6777038"/>
            <a:ext cx="2351087" cy="8096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cap="none" spc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10081990" y="404580"/>
            <a:ext cx="1702800" cy="270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676060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6023992" cy="6777038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56363" y="1124680"/>
            <a:ext cx="5327650" cy="935324"/>
          </a:xfrm>
        </p:spPr>
        <p:txBody>
          <a:bodyPr anchor="b" anchorCtr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56363" y="2205038"/>
            <a:ext cx="5327649" cy="3744312"/>
          </a:xfrm>
        </p:spPr>
        <p:txBody>
          <a:bodyPr/>
          <a:lstStyle>
            <a:lvl1pPr marL="0" indent="0">
              <a:buNone/>
              <a:defRPr sz="2200"/>
            </a:lvl1pPr>
            <a:lvl2pPr marL="357188" indent="-265113">
              <a:defRPr/>
            </a:lvl2pPr>
            <a:lvl3pPr marL="714375" indent="-265113">
              <a:defRPr/>
            </a:lvl3pPr>
            <a:lvl4pPr marL="1071563" indent="-265113">
              <a:defRPr/>
            </a:lvl4pPr>
            <a:lvl5pPr marL="1438275" indent="-274638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75A02A-E039-4CA9-BD20-BB0EC57C4849}" type="datetime1">
              <a:rPr lang="fi-FI" smtClean="0"/>
              <a:t>31.3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and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0B285B-2D20-4CC2-81CD-215A1F1E11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66438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PIC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6023992" cy="6777038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56363" y="1124680"/>
            <a:ext cx="5327650" cy="935324"/>
          </a:xfrm>
        </p:spPr>
        <p:txBody>
          <a:bodyPr anchor="b" anchorCtr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56363" y="2205038"/>
            <a:ext cx="5327649" cy="3744312"/>
          </a:xfrm>
        </p:spPr>
        <p:txBody>
          <a:bodyPr/>
          <a:lstStyle>
            <a:lvl1pPr marL="0" indent="0">
              <a:buNone/>
              <a:defRPr sz="2200"/>
            </a:lvl1pPr>
            <a:lvl2pPr marL="357188" indent="-265113">
              <a:defRPr/>
            </a:lvl2pPr>
            <a:lvl3pPr marL="714375" indent="-265113">
              <a:defRPr/>
            </a:lvl3pPr>
            <a:lvl4pPr marL="1071563" indent="-265113">
              <a:defRPr/>
            </a:lvl4pPr>
            <a:lvl5pPr marL="1438275" indent="-274638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75A02A-E039-4CA9-BD20-BB0EC57C4849}" type="datetime1">
              <a:rPr lang="fi-FI" smtClean="0"/>
              <a:t>31.3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and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0B285B-2D20-4CC2-81CD-215A1F1E11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08603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PIC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0154A5C4-FEFA-6F40-8BAA-178A1715239B}"/>
              </a:ext>
            </a:extLst>
          </p:cNvPr>
          <p:cNvSpPr/>
          <p:nvPr userDrawn="1"/>
        </p:nvSpPr>
        <p:spPr>
          <a:xfrm>
            <a:off x="0" y="0"/>
            <a:ext cx="6023992" cy="6777038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56363" y="1124680"/>
            <a:ext cx="5327650" cy="935324"/>
          </a:xfrm>
        </p:spPr>
        <p:txBody>
          <a:bodyPr anchor="b" anchorCtr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56363" y="2205038"/>
            <a:ext cx="5327649" cy="3744312"/>
          </a:xfrm>
        </p:spPr>
        <p:txBody>
          <a:bodyPr/>
          <a:lstStyle>
            <a:lvl1pPr marL="0" indent="0">
              <a:buNone/>
              <a:defRPr sz="2200"/>
            </a:lvl1pPr>
            <a:lvl2pPr marL="357188" indent="-265113">
              <a:defRPr/>
            </a:lvl2pPr>
            <a:lvl3pPr marL="714375" indent="-265113">
              <a:defRPr/>
            </a:lvl3pPr>
            <a:lvl4pPr marL="1071563" indent="-265113">
              <a:defRPr/>
            </a:lvl4pPr>
            <a:lvl5pPr marL="1438275" indent="-274638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75A02A-E039-4CA9-BD20-BB0EC57C4849}" type="datetime1">
              <a:rPr lang="fi-FI" smtClean="0"/>
              <a:t>31.3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and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0B285B-2D20-4CC2-81CD-215A1F1E11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618430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PIC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ED7DC217-A9A3-E14B-98DD-9DF9E798DB9B}"/>
              </a:ext>
            </a:extLst>
          </p:cNvPr>
          <p:cNvSpPr/>
          <p:nvPr userDrawn="1"/>
        </p:nvSpPr>
        <p:spPr>
          <a:xfrm>
            <a:off x="0" y="0"/>
            <a:ext cx="6023992" cy="6777038"/>
          </a:xfrm>
          <a:prstGeom prst="rect">
            <a:avLst/>
          </a:prstGeom>
          <a:blipFill>
            <a:blip r:embed="rId2"/>
            <a:srcRect/>
            <a:stretch>
              <a:fillRect l="-67349" t="-413" r="-35861" b="-1192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56363" y="1124680"/>
            <a:ext cx="5327650" cy="935324"/>
          </a:xfrm>
        </p:spPr>
        <p:txBody>
          <a:bodyPr anchor="b" anchorCtr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56363" y="2205038"/>
            <a:ext cx="5327649" cy="3744312"/>
          </a:xfrm>
        </p:spPr>
        <p:txBody>
          <a:bodyPr/>
          <a:lstStyle>
            <a:lvl1pPr marL="0" indent="0">
              <a:buNone/>
              <a:defRPr sz="2200"/>
            </a:lvl1pPr>
            <a:lvl2pPr marL="357188" indent="-265113">
              <a:defRPr/>
            </a:lvl2pPr>
            <a:lvl3pPr marL="714375" indent="-265113">
              <a:defRPr/>
            </a:lvl3pPr>
            <a:lvl4pPr marL="1071563" indent="-265113">
              <a:defRPr/>
            </a:lvl4pPr>
            <a:lvl5pPr marL="1438275" indent="-274638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75A02A-E039-4CA9-BD20-BB0EC57C4849}" type="datetime1">
              <a:rPr lang="fi-FI" smtClean="0"/>
              <a:t>31.3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and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0B285B-2D20-4CC2-81CD-215A1F1E11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08500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/2 PIC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316C6F5-FC9C-C647-A03C-8EC174055D6A}"/>
              </a:ext>
            </a:extLst>
          </p:cNvPr>
          <p:cNvSpPr/>
          <p:nvPr userDrawn="1"/>
        </p:nvSpPr>
        <p:spPr>
          <a:xfrm>
            <a:off x="9162" y="0"/>
            <a:ext cx="6023992" cy="6777038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56363" y="1124680"/>
            <a:ext cx="5327650" cy="935324"/>
          </a:xfrm>
        </p:spPr>
        <p:txBody>
          <a:bodyPr anchor="b" anchorCtr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56363" y="2205038"/>
            <a:ext cx="5327649" cy="3744312"/>
          </a:xfrm>
        </p:spPr>
        <p:txBody>
          <a:bodyPr/>
          <a:lstStyle>
            <a:lvl1pPr marL="0" indent="0">
              <a:buNone/>
              <a:defRPr sz="2200"/>
            </a:lvl1pPr>
            <a:lvl2pPr marL="357188" indent="-265113">
              <a:defRPr/>
            </a:lvl2pPr>
            <a:lvl3pPr marL="714375" indent="-265113">
              <a:defRPr/>
            </a:lvl3pPr>
            <a:lvl4pPr marL="1071563" indent="-265113">
              <a:defRPr/>
            </a:lvl4pPr>
            <a:lvl5pPr marL="1438275" indent="-274638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75A02A-E039-4CA9-BD20-BB0EC57C4849}" type="datetime1">
              <a:rPr lang="fi-FI" smtClean="0"/>
              <a:t>31.3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and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0B285B-2D20-4CC2-81CD-215A1F1E11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77010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PIC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6023992" cy="6777038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56363" y="1124680"/>
            <a:ext cx="5327650" cy="935324"/>
          </a:xfrm>
        </p:spPr>
        <p:txBody>
          <a:bodyPr anchor="b" anchorCtr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56363" y="2205038"/>
            <a:ext cx="5327649" cy="3744312"/>
          </a:xfrm>
        </p:spPr>
        <p:txBody>
          <a:bodyPr/>
          <a:lstStyle>
            <a:lvl1pPr marL="0" indent="0">
              <a:buNone/>
              <a:defRPr sz="2200"/>
            </a:lvl1pPr>
            <a:lvl2pPr marL="357188" indent="-265113">
              <a:defRPr/>
            </a:lvl2pPr>
            <a:lvl3pPr marL="714375" indent="-265113">
              <a:defRPr/>
            </a:lvl3pPr>
            <a:lvl4pPr marL="1071563" indent="-265113">
              <a:defRPr/>
            </a:lvl4pPr>
            <a:lvl5pPr marL="1438275" indent="-274638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75A02A-E039-4CA9-BD20-BB0EC57C4849}" type="datetime1">
              <a:rPr lang="fi-FI" smtClean="0"/>
              <a:t>31.3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and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0B285B-2D20-4CC2-81CD-215A1F1E11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316535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PIC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4007768" cy="6777038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9770" y="1124680"/>
            <a:ext cx="7344243" cy="935324"/>
          </a:xfrm>
        </p:spPr>
        <p:txBody>
          <a:bodyPr anchor="b" anchorCtr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39771" y="2205038"/>
            <a:ext cx="7344242" cy="3744312"/>
          </a:xfrm>
        </p:spPr>
        <p:txBody>
          <a:bodyPr/>
          <a:lstStyle>
            <a:lvl1pPr marL="0" indent="0">
              <a:buNone/>
              <a:defRPr sz="2200"/>
            </a:lvl1pPr>
            <a:lvl2pPr marL="357188" indent="-265113">
              <a:defRPr/>
            </a:lvl2pPr>
            <a:lvl3pPr marL="714375" indent="-265113">
              <a:defRPr/>
            </a:lvl3pPr>
            <a:lvl4pPr marL="1071563" indent="-265113">
              <a:defRPr/>
            </a:lvl4pPr>
            <a:lvl5pPr marL="1438275" indent="-274638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3D6A36-B79C-4441-B223-D3078DC8C4E4}" type="datetime1">
              <a:rPr lang="fi-FI" smtClean="0"/>
              <a:t>31.3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and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0B285B-2D20-4CC2-81CD-215A1F1E11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447383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PIC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4007768" cy="6777038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9770" y="1124680"/>
            <a:ext cx="7344243" cy="935324"/>
          </a:xfrm>
        </p:spPr>
        <p:txBody>
          <a:bodyPr anchor="b" anchorCtr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39771" y="2205038"/>
            <a:ext cx="7344242" cy="3744312"/>
          </a:xfrm>
        </p:spPr>
        <p:txBody>
          <a:bodyPr/>
          <a:lstStyle>
            <a:lvl1pPr marL="0" indent="0">
              <a:buNone/>
              <a:defRPr sz="2200"/>
            </a:lvl1pPr>
            <a:lvl2pPr marL="357188" indent="-265113">
              <a:defRPr/>
            </a:lvl2pPr>
            <a:lvl3pPr marL="714375" indent="-265113">
              <a:defRPr/>
            </a:lvl3pPr>
            <a:lvl4pPr marL="1071563" indent="-265113">
              <a:defRPr/>
            </a:lvl4pPr>
            <a:lvl5pPr marL="1438275" indent="-274638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3D6A36-B79C-4441-B223-D3078DC8C4E4}" type="datetime1">
              <a:rPr lang="fi-FI" smtClean="0"/>
              <a:t>31.3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and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0B285B-2D20-4CC2-81CD-215A1F1E11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0752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777038"/>
          </a:xfr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4652963"/>
            <a:ext cx="12192000" cy="2124075"/>
          </a:xfrm>
          <a:solidFill>
            <a:srgbClr val="F2F2F2">
              <a:alpha val="40000"/>
            </a:srgbClr>
          </a:solidFill>
        </p:spPr>
        <p:txBody>
          <a:bodyPr lIns="756000" tIns="504000" rIns="756000" bIns="936000" anchor="t" anchorCtr="0"/>
          <a:lstStyle>
            <a:lvl1pPr algn="l">
              <a:lnSpc>
                <a:spcPct val="85000"/>
              </a:lnSpc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6763" y="5949350"/>
            <a:ext cx="11017249" cy="359374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A180A450-C082-4E98-A68B-F5A1D1A318D9}" type="datetime1">
              <a:rPr lang="fi-FI" smtClean="0"/>
              <a:t>31.3.2025</a:t>
            </a:fld>
            <a:endParaRPr lang="en-US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Presentation name and Author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50B285B-2D20-4CC2-81CD-215A1F1E113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10081990" y="404580"/>
            <a:ext cx="1702800" cy="270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2806857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7988" y="1844675"/>
            <a:ext cx="5616001" cy="648195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2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7988" y="2564879"/>
            <a:ext cx="5616001" cy="374384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68010" y="1844675"/>
            <a:ext cx="5616002" cy="648195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2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10" y="2564879"/>
            <a:ext cx="5616002" cy="374384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849279-F7F1-49F8-B789-176EF1FBCAC5}" type="datetime1">
              <a:rPr lang="fi-FI" smtClean="0"/>
              <a:t>31.3.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and Autho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0B285B-2D20-4CC2-81CD-215A1F1E113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406361" y="1267945"/>
            <a:ext cx="9434552" cy="504825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itle 8"/>
          <p:cNvSpPr>
            <a:spLocks noGrp="1"/>
          </p:cNvSpPr>
          <p:nvPr>
            <p:ph type="title"/>
          </p:nvPr>
        </p:nvSpPr>
        <p:spPr>
          <a:xfrm>
            <a:off x="407989" y="405386"/>
            <a:ext cx="9432924" cy="719294"/>
          </a:xfrm>
        </p:spPr>
        <p:txBody>
          <a:bodyPr anchor="b" anchorCtr="0"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6463307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7988" y="1844781"/>
            <a:ext cx="5616001" cy="446394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68010" y="1844675"/>
            <a:ext cx="5616002" cy="1080255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1364FC-F60B-4C42-9449-E43AEA6DECA6}" type="datetime1">
              <a:rPr lang="fi-FI" smtClean="0"/>
              <a:t>31.3.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and Autho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0B285B-2D20-4CC2-81CD-215A1F1E113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406361" y="1267945"/>
            <a:ext cx="9434552" cy="504825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itle 8"/>
          <p:cNvSpPr>
            <a:spLocks noGrp="1"/>
          </p:cNvSpPr>
          <p:nvPr>
            <p:ph type="title"/>
          </p:nvPr>
        </p:nvSpPr>
        <p:spPr>
          <a:xfrm>
            <a:off x="407989" y="405386"/>
            <a:ext cx="9432924" cy="719294"/>
          </a:xfrm>
        </p:spPr>
        <p:txBody>
          <a:bodyPr anchor="b" anchorCtr="0"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13" name="Chart Placeholder 12"/>
          <p:cNvSpPr>
            <a:spLocks noGrp="1"/>
          </p:cNvSpPr>
          <p:nvPr>
            <p:ph type="chart" sz="quarter" idx="14"/>
          </p:nvPr>
        </p:nvSpPr>
        <p:spPr>
          <a:xfrm>
            <a:off x="6168010" y="2996940"/>
            <a:ext cx="5616003" cy="3311785"/>
          </a:xfrm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1419867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68010" y="1844675"/>
            <a:ext cx="5616002" cy="1080255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44D428-5EF1-4E3C-8CA7-4B0A88580A85}" type="datetime1">
              <a:rPr lang="fi-FI" smtClean="0"/>
              <a:t>31.3.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and Autho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0B285B-2D20-4CC2-81CD-215A1F1E113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406361" y="1267945"/>
            <a:ext cx="9434552" cy="504825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itle 8"/>
          <p:cNvSpPr>
            <a:spLocks noGrp="1"/>
          </p:cNvSpPr>
          <p:nvPr>
            <p:ph type="title"/>
          </p:nvPr>
        </p:nvSpPr>
        <p:spPr>
          <a:xfrm>
            <a:off x="407989" y="405386"/>
            <a:ext cx="9432924" cy="719294"/>
          </a:xfrm>
        </p:spPr>
        <p:txBody>
          <a:bodyPr anchor="b" anchorCtr="0"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13" name="Chart Placeholder 12"/>
          <p:cNvSpPr>
            <a:spLocks noGrp="1"/>
          </p:cNvSpPr>
          <p:nvPr>
            <p:ph type="chart" sz="quarter" idx="14"/>
          </p:nvPr>
        </p:nvSpPr>
        <p:spPr>
          <a:xfrm>
            <a:off x="6168010" y="2996940"/>
            <a:ext cx="5616003" cy="3311785"/>
          </a:xfrm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fi-FI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07988" y="1844675"/>
            <a:ext cx="5616002" cy="1080255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hart Placeholder 12"/>
          <p:cNvSpPr>
            <a:spLocks noGrp="1"/>
          </p:cNvSpPr>
          <p:nvPr>
            <p:ph type="chart" sz="quarter" idx="16"/>
          </p:nvPr>
        </p:nvSpPr>
        <p:spPr>
          <a:xfrm>
            <a:off x="407988" y="2996940"/>
            <a:ext cx="5616003" cy="3311785"/>
          </a:xfrm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13048028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8112124" y="1844675"/>
            <a:ext cx="3671887" cy="1080255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5C3EE0-9E29-40A1-B6F9-407387F53145}" type="datetime1">
              <a:rPr lang="fi-FI" smtClean="0"/>
              <a:t>31.3.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and Autho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0B285B-2D20-4CC2-81CD-215A1F1E113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406361" y="1267945"/>
            <a:ext cx="9434552" cy="504825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itle 8"/>
          <p:cNvSpPr>
            <a:spLocks noGrp="1"/>
          </p:cNvSpPr>
          <p:nvPr>
            <p:ph type="title"/>
          </p:nvPr>
        </p:nvSpPr>
        <p:spPr>
          <a:xfrm>
            <a:off x="407989" y="405386"/>
            <a:ext cx="9432924" cy="719294"/>
          </a:xfrm>
        </p:spPr>
        <p:txBody>
          <a:bodyPr anchor="b" anchorCtr="0"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13" name="Chart Placeholder 12"/>
          <p:cNvSpPr>
            <a:spLocks noGrp="1"/>
          </p:cNvSpPr>
          <p:nvPr>
            <p:ph type="chart" sz="quarter" idx="14"/>
          </p:nvPr>
        </p:nvSpPr>
        <p:spPr>
          <a:xfrm>
            <a:off x="8112125" y="2996940"/>
            <a:ext cx="3671888" cy="3311785"/>
          </a:xfrm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fi-FI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07988" y="1844675"/>
            <a:ext cx="3671886" cy="1080255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hart Placeholder 12"/>
          <p:cNvSpPr>
            <a:spLocks noGrp="1"/>
          </p:cNvSpPr>
          <p:nvPr>
            <p:ph type="chart" sz="quarter" idx="16"/>
          </p:nvPr>
        </p:nvSpPr>
        <p:spPr>
          <a:xfrm>
            <a:off x="407988" y="2996940"/>
            <a:ext cx="3671887" cy="3311785"/>
          </a:xfrm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fi-FI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223740" y="1844675"/>
            <a:ext cx="3744520" cy="1080255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Chart Placeholder 12"/>
          <p:cNvSpPr>
            <a:spLocks noGrp="1"/>
          </p:cNvSpPr>
          <p:nvPr>
            <p:ph type="chart" sz="quarter" idx="18"/>
          </p:nvPr>
        </p:nvSpPr>
        <p:spPr>
          <a:xfrm>
            <a:off x="4223740" y="2996940"/>
            <a:ext cx="3744521" cy="3311785"/>
          </a:xfrm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3334611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BE10D3AB-183B-4925-ADEE-2EC85F3A43AB}" type="datetime1">
              <a:rPr lang="fi-FI" smtClean="0"/>
              <a:t>31.3.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Presentation name and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50B285B-2D20-4CC2-81CD-215A1F1E113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66764" y="1844676"/>
            <a:ext cx="10658472" cy="2016384"/>
          </a:xfrm>
        </p:spPr>
        <p:txBody>
          <a:bodyPr anchor="b" anchorCtr="0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87845243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A52D3B-0A82-452A-B151-8CF419CA90E8}" type="datetime1">
              <a:rPr lang="fi-FI" smtClean="0"/>
              <a:t>31.3.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and Autho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0B285B-2D20-4CC2-81CD-215A1F1E11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26094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A054D0-1546-4326-ACA2-7CABDB2FC1FB}" type="datetime1">
              <a:rPr lang="fi-FI" smtClean="0"/>
              <a:t>31.3.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and Auth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0B285B-2D20-4CC2-81CD-215A1F1E11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53557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15E549-A1EA-406A-86EB-C5462D24BFEA}" type="datetime1">
              <a:rPr lang="fi-FI" smtClean="0"/>
              <a:t>31.3.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and Auth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0B285B-2D20-4CC2-81CD-215A1F1E113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Content Placeholder 13"/>
          <p:cNvSpPr>
            <a:spLocks noGrp="1"/>
          </p:cNvSpPr>
          <p:nvPr>
            <p:ph sz="quarter" idx="21"/>
          </p:nvPr>
        </p:nvSpPr>
        <p:spPr>
          <a:xfrm>
            <a:off x="407988" y="1340710"/>
            <a:ext cx="3239672" cy="2376330"/>
          </a:xfrm>
          <a:solidFill>
            <a:schemeClr val="accent1"/>
          </a:solidFill>
        </p:spPr>
        <p:txBody>
          <a:bodyPr lIns="144000" tIns="108000" rIns="144000" bIns="108000" anchor="ctr" anchorCtr="0"/>
          <a:lstStyle>
            <a:lvl1pPr marL="0" indent="0" algn="ctr">
              <a:lnSpc>
                <a:spcPct val="90000"/>
              </a:lnSpc>
              <a:spcBef>
                <a:spcPts val="0"/>
              </a:spcBef>
              <a:buClrTx/>
              <a:buNone/>
              <a:defRPr sz="1800" b="1">
                <a:solidFill>
                  <a:schemeClr val="bg1"/>
                </a:solidFill>
              </a:defRPr>
            </a:lvl1pPr>
            <a:lvl2pPr marL="0" indent="0" algn="ctr">
              <a:buClrTx/>
              <a:buNone/>
              <a:defRPr sz="1600">
                <a:solidFill>
                  <a:schemeClr val="bg1"/>
                </a:solidFill>
              </a:defRPr>
            </a:lvl2pPr>
            <a:lvl3pPr marL="0" indent="0" algn="ctr">
              <a:buClrTx/>
              <a:buNone/>
              <a:defRPr sz="1400">
                <a:solidFill>
                  <a:schemeClr val="bg1"/>
                </a:solidFill>
              </a:defRPr>
            </a:lvl3pPr>
            <a:lvl4pPr marL="0" indent="0" algn="ctr">
              <a:buClrTx/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 algn="ctr">
              <a:buClrTx/>
              <a:buFontTx/>
              <a:buNone/>
              <a:defRPr sz="1000">
                <a:solidFill>
                  <a:schemeClr val="bg1"/>
                </a:solidFill>
              </a:defRPr>
            </a:lvl5pPr>
            <a:lvl6pPr marL="1346200" indent="-274638">
              <a:buClrTx/>
              <a:defRPr>
                <a:solidFill>
                  <a:schemeClr val="bg1"/>
                </a:solidFill>
              </a:defRPr>
            </a:lvl6pPr>
            <a:lvl7pPr marL="0" indent="0">
              <a:buClrTx/>
              <a:buFontTx/>
              <a:buNone/>
              <a:defRPr>
                <a:solidFill>
                  <a:schemeClr val="bg1"/>
                </a:solidFill>
              </a:defRPr>
            </a:lvl7pPr>
            <a:lvl8pPr marL="1878013" indent="-265113">
              <a:buClrTx/>
              <a:defRPr>
                <a:solidFill>
                  <a:schemeClr val="bg1"/>
                </a:solidFill>
              </a:defRPr>
            </a:lvl8pPr>
            <a:lvl9pPr marL="2152650" indent="-274638"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22"/>
          </p:nvPr>
        </p:nvSpPr>
        <p:spPr>
          <a:xfrm>
            <a:off x="3863454" y="1340710"/>
            <a:ext cx="3240686" cy="2376330"/>
          </a:xfrm>
          <a:solidFill>
            <a:schemeClr val="accent4"/>
          </a:solidFill>
        </p:spPr>
        <p:txBody>
          <a:bodyPr lIns="144000" tIns="108000" rIns="144000" bIns="108000" anchor="ctr" anchorCtr="0"/>
          <a:lstStyle>
            <a:lvl1pPr marL="0" indent="0" algn="ctr">
              <a:lnSpc>
                <a:spcPct val="90000"/>
              </a:lnSpc>
              <a:spcBef>
                <a:spcPts val="0"/>
              </a:spcBef>
              <a:buClrTx/>
              <a:buNone/>
              <a:defRPr sz="1800" b="1">
                <a:solidFill>
                  <a:schemeClr val="bg1"/>
                </a:solidFill>
              </a:defRPr>
            </a:lvl1pPr>
            <a:lvl2pPr marL="0" indent="0" algn="ctr">
              <a:buClrTx/>
              <a:buNone/>
              <a:defRPr sz="1600">
                <a:solidFill>
                  <a:schemeClr val="bg1"/>
                </a:solidFill>
              </a:defRPr>
            </a:lvl2pPr>
            <a:lvl3pPr marL="0" indent="0" algn="ctr">
              <a:buClrTx/>
              <a:buNone/>
              <a:defRPr sz="1400">
                <a:solidFill>
                  <a:schemeClr val="bg1"/>
                </a:solidFill>
              </a:defRPr>
            </a:lvl3pPr>
            <a:lvl4pPr marL="0" indent="0" algn="ctr">
              <a:buClrTx/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 algn="ctr">
              <a:buClrTx/>
              <a:buFontTx/>
              <a:buNone/>
              <a:defRPr sz="1000">
                <a:solidFill>
                  <a:schemeClr val="bg1"/>
                </a:solidFill>
              </a:defRPr>
            </a:lvl5pPr>
            <a:lvl6pPr marL="1346200" indent="-274638">
              <a:buClrTx/>
              <a:defRPr>
                <a:solidFill>
                  <a:schemeClr val="bg1"/>
                </a:solidFill>
              </a:defRPr>
            </a:lvl6pPr>
            <a:lvl7pPr marL="0" indent="0">
              <a:buClrTx/>
              <a:buFontTx/>
              <a:buNone/>
              <a:defRPr>
                <a:solidFill>
                  <a:schemeClr val="bg1"/>
                </a:solidFill>
              </a:defRPr>
            </a:lvl7pPr>
            <a:lvl8pPr marL="1878013" indent="-265113">
              <a:buClrTx/>
              <a:defRPr>
                <a:solidFill>
                  <a:schemeClr val="bg1"/>
                </a:solidFill>
              </a:defRPr>
            </a:lvl8pPr>
            <a:lvl9pPr marL="2152650" indent="-274638"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13"/>
          <p:cNvSpPr>
            <a:spLocks noGrp="1"/>
          </p:cNvSpPr>
          <p:nvPr>
            <p:ph sz="quarter" idx="23"/>
          </p:nvPr>
        </p:nvSpPr>
        <p:spPr>
          <a:xfrm>
            <a:off x="7320170" y="1340710"/>
            <a:ext cx="3240450" cy="2376330"/>
          </a:xfrm>
          <a:solidFill>
            <a:schemeClr val="accent2"/>
          </a:solidFill>
        </p:spPr>
        <p:txBody>
          <a:bodyPr lIns="144000" tIns="108000" rIns="144000" bIns="108000" anchor="ctr" anchorCtr="0"/>
          <a:lstStyle>
            <a:lvl1pPr marL="0" indent="0" algn="ctr">
              <a:lnSpc>
                <a:spcPct val="90000"/>
              </a:lnSpc>
              <a:spcBef>
                <a:spcPts val="0"/>
              </a:spcBef>
              <a:buClrTx/>
              <a:buNone/>
              <a:defRPr sz="1800" b="1">
                <a:solidFill>
                  <a:schemeClr val="bg1"/>
                </a:solidFill>
              </a:defRPr>
            </a:lvl1pPr>
            <a:lvl2pPr marL="0" indent="0" algn="ctr">
              <a:buClrTx/>
              <a:buNone/>
              <a:defRPr sz="1600">
                <a:solidFill>
                  <a:schemeClr val="bg1"/>
                </a:solidFill>
              </a:defRPr>
            </a:lvl2pPr>
            <a:lvl3pPr marL="0" indent="0" algn="ctr">
              <a:buClrTx/>
              <a:buNone/>
              <a:defRPr sz="1400">
                <a:solidFill>
                  <a:schemeClr val="bg1"/>
                </a:solidFill>
              </a:defRPr>
            </a:lvl3pPr>
            <a:lvl4pPr marL="0" indent="0" algn="ctr">
              <a:buClrTx/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 algn="ctr">
              <a:buClrTx/>
              <a:buFontTx/>
              <a:buNone/>
              <a:defRPr sz="1000">
                <a:solidFill>
                  <a:schemeClr val="bg1"/>
                </a:solidFill>
              </a:defRPr>
            </a:lvl5pPr>
            <a:lvl6pPr marL="1346200" indent="-274638">
              <a:buClrTx/>
              <a:defRPr>
                <a:solidFill>
                  <a:schemeClr val="bg1"/>
                </a:solidFill>
              </a:defRPr>
            </a:lvl6pPr>
            <a:lvl7pPr marL="0" indent="0">
              <a:buClrTx/>
              <a:buFontTx/>
              <a:buNone/>
              <a:defRPr>
                <a:solidFill>
                  <a:schemeClr val="bg1"/>
                </a:solidFill>
              </a:defRPr>
            </a:lvl7pPr>
            <a:lvl8pPr marL="1878013" indent="-265113">
              <a:buClrTx/>
              <a:defRPr>
                <a:solidFill>
                  <a:schemeClr val="bg1"/>
                </a:solidFill>
              </a:defRPr>
            </a:lvl8pPr>
            <a:lvl9pPr marL="2152650" indent="-274638"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ontent Placeholder 13"/>
          <p:cNvSpPr>
            <a:spLocks noGrp="1"/>
          </p:cNvSpPr>
          <p:nvPr>
            <p:ph sz="quarter" idx="24"/>
          </p:nvPr>
        </p:nvSpPr>
        <p:spPr>
          <a:xfrm>
            <a:off x="407988" y="3933069"/>
            <a:ext cx="3239672" cy="2375656"/>
          </a:xfrm>
          <a:solidFill>
            <a:schemeClr val="accent2"/>
          </a:solidFill>
        </p:spPr>
        <p:txBody>
          <a:bodyPr lIns="144000" tIns="108000" rIns="144000" bIns="108000" anchor="ctr" anchorCtr="0"/>
          <a:lstStyle>
            <a:lvl1pPr marL="0" indent="0" algn="ctr">
              <a:lnSpc>
                <a:spcPct val="90000"/>
              </a:lnSpc>
              <a:spcBef>
                <a:spcPts val="0"/>
              </a:spcBef>
              <a:buClrTx/>
              <a:buNone/>
              <a:defRPr sz="1800" b="1">
                <a:solidFill>
                  <a:schemeClr val="bg1"/>
                </a:solidFill>
              </a:defRPr>
            </a:lvl1pPr>
            <a:lvl2pPr marL="0" indent="0" algn="ctr">
              <a:buClrTx/>
              <a:buNone/>
              <a:defRPr sz="1600">
                <a:solidFill>
                  <a:schemeClr val="bg1"/>
                </a:solidFill>
              </a:defRPr>
            </a:lvl2pPr>
            <a:lvl3pPr marL="0" indent="0" algn="ctr">
              <a:buClrTx/>
              <a:buNone/>
              <a:defRPr sz="1400">
                <a:solidFill>
                  <a:schemeClr val="bg1"/>
                </a:solidFill>
              </a:defRPr>
            </a:lvl3pPr>
            <a:lvl4pPr marL="0" indent="0" algn="ctr">
              <a:buClrTx/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 algn="ctr">
              <a:buClrTx/>
              <a:buFontTx/>
              <a:buNone/>
              <a:defRPr sz="1000">
                <a:solidFill>
                  <a:schemeClr val="bg1"/>
                </a:solidFill>
              </a:defRPr>
            </a:lvl5pPr>
            <a:lvl6pPr marL="1346200" indent="-274638">
              <a:buClrTx/>
              <a:defRPr>
                <a:solidFill>
                  <a:schemeClr val="bg1"/>
                </a:solidFill>
              </a:defRPr>
            </a:lvl6pPr>
            <a:lvl7pPr marL="0" indent="0">
              <a:buClrTx/>
              <a:buFontTx/>
              <a:buNone/>
              <a:defRPr>
                <a:solidFill>
                  <a:schemeClr val="bg1"/>
                </a:solidFill>
              </a:defRPr>
            </a:lvl7pPr>
            <a:lvl8pPr marL="1878013" indent="-265113">
              <a:buClrTx/>
              <a:defRPr>
                <a:solidFill>
                  <a:schemeClr val="bg1"/>
                </a:solidFill>
              </a:defRPr>
            </a:lvl8pPr>
            <a:lvl9pPr marL="2152650" indent="-274638"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13"/>
          <p:cNvSpPr>
            <a:spLocks noGrp="1"/>
          </p:cNvSpPr>
          <p:nvPr>
            <p:ph sz="quarter" idx="25"/>
          </p:nvPr>
        </p:nvSpPr>
        <p:spPr>
          <a:xfrm>
            <a:off x="3863454" y="3933069"/>
            <a:ext cx="3240686" cy="2375656"/>
          </a:xfrm>
          <a:solidFill>
            <a:schemeClr val="accent3"/>
          </a:solidFill>
        </p:spPr>
        <p:txBody>
          <a:bodyPr lIns="144000" tIns="108000" rIns="144000" bIns="108000" anchor="ctr" anchorCtr="0"/>
          <a:lstStyle>
            <a:lvl1pPr marL="0" indent="0" algn="ctr">
              <a:lnSpc>
                <a:spcPct val="90000"/>
              </a:lnSpc>
              <a:spcBef>
                <a:spcPts val="0"/>
              </a:spcBef>
              <a:buClrTx/>
              <a:buNone/>
              <a:defRPr sz="1800" b="1">
                <a:solidFill>
                  <a:schemeClr val="bg1"/>
                </a:solidFill>
              </a:defRPr>
            </a:lvl1pPr>
            <a:lvl2pPr marL="0" indent="0" algn="ctr">
              <a:buClrTx/>
              <a:buNone/>
              <a:defRPr sz="1600">
                <a:solidFill>
                  <a:schemeClr val="bg1"/>
                </a:solidFill>
              </a:defRPr>
            </a:lvl2pPr>
            <a:lvl3pPr marL="0" indent="0" algn="ctr">
              <a:buClrTx/>
              <a:buNone/>
              <a:defRPr sz="1400">
                <a:solidFill>
                  <a:schemeClr val="bg1"/>
                </a:solidFill>
              </a:defRPr>
            </a:lvl3pPr>
            <a:lvl4pPr marL="0" indent="0" algn="ctr">
              <a:buClrTx/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 algn="ctr">
              <a:buClrTx/>
              <a:buFontTx/>
              <a:buNone/>
              <a:defRPr sz="1000">
                <a:solidFill>
                  <a:schemeClr val="bg1"/>
                </a:solidFill>
              </a:defRPr>
            </a:lvl5pPr>
            <a:lvl6pPr marL="1346200" indent="-274638">
              <a:buClrTx/>
              <a:defRPr>
                <a:solidFill>
                  <a:schemeClr val="bg1"/>
                </a:solidFill>
              </a:defRPr>
            </a:lvl6pPr>
            <a:lvl7pPr marL="0" indent="0">
              <a:buClrTx/>
              <a:buFontTx/>
              <a:buNone/>
              <a:defRPr>
                <a:solidFill>
                  <a:schemeClr val="bg1"/>
                </a:solidFill>
              </a:defRPr>
            </a:lvl7pPr>
            <a:lvl8pPr marL="1878013" indent="-265113">
              <a:buClrTx/>
              <a:defRPr>
                <a:solidFill>
                  <a:schemeClr val="bg1"/>
                </a:solidFill>
              </a:defRPr>
            </a:lvl8pPr>
            <a:lvl9pPr marL="2152650" indent="-274638"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26"/>
          </p:nvPr>
        </p:nvSpPr>
        <p:spPr>
          <a:xfrm>
            <a:off x="7320170" y="3933069"/>
            <a:ext cx="3240450" cy="2375656"/>
          </a:xfrm>
          <a:solidFill>
            <a:schemeClr val="accent1"/>
          </a:solidFill>
        </p:spPr>
        <p:txBody>
          <a:bodyPr lIns="144000" tIns="108000" rIns="144000" bIns="108000" anchor="ctr" anchorCtr="0"/>
          <a:lstStyle>
            <a:lvl1pPr marL="0" indent="0" algn="ctr">
              <a:lnSpc>
                <a:spcPct val="90000"/>
              </a:lnSpc>
              <a:spcBef>
                <a:spcPts val="0"/>
              </a:spcBef>
              <a:buClrTx/>
              <a:buNone/>
              <a:defRPr sz="1800" b="1">
                <a:solidFill>
                  <a:schemeClr val="bg1"/>
                </a:solidFill>
              </a:defRPr>
            </a:lvl1pPr>
            <a:lvl2pPr marL="0" indent="0" algn="ctr">
              <a:buClrTx/>
              <a:buNone/>
              <a:defRPr sz="1600">
                <a:solidFill>
                  <a:schemeClr val="bg1"/>
                </a:solidFill>
              </a:defRPr>
            </a:lvl2pPr>
            <a:lvl3pPr marL="0" indent="0" algn="ctr">
              <a:buClrTx/>
              <a:buNone/>
              <a:defRPr sz="1400">
                <a:solidFill>
                  <a:schemeClr val="bg1"/>
                </a:solidFill>
              </a:defRPr>
            </a:lvl3pPr>
            <a:lvl4pPr marL="0" indent="0" algn="ctr">
              <a:buClrTx/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 algn="ctr">
              <a:buClrTx/>
              <a:buFontTx/>
              <a:buNone/>
              <a:defRPr sz="1000">
                <a:solidFill>
                  <a:schemeClr val="bg1"/>
                </a:solidFill>
              </a:defRPr>
            </a:lvl5pPr>
            <a:lvl6pPr marL="1346200" indent="-274638">
              <a:buClrTx/>
              <a:defRPr>
                <a:solidFill>
                  <a:schemeClr val="bg1"/>
                </a:solidFill>
              </a:defRPr>
            </a:lvl6pPr>
            <a:lvl7pPr marL="0" indent="0">
              <a:buClrTx/>
              <a:buFontTx/>
              <a:buNone/>
              <a:defRPr>
                <a:solidFill>
                  <a:schemeClr val="bg1"/>
                </a:solidFill>
              </a:defRPr>
            </a:lvl7pPr>
            <a:lvl8pPr marL="1878013" indent="-265113">
              <a:buClrTx/>
              <a:defRPr>
                <a:solidFill>
                  <a:schemeClr val="bg1"/>
                </a:solidFill>
              </a:defRPr>
            </a:lvl8pPr>
            <a:lvl9pPr marL="2152650" indent="-274638"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3947260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conten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AB20A9-3E09-42C7-A946-B5844503DEE6}" type="datetime1">
              <a:rPr lang="fi-FI" smtClean="0"/>
              <a:t>31.3.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and Auth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0B285B-2D20-4CC2-81CD-215A1F1E113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Content Placeholder 13"/>
          <p:cNvSpPr>
            <a:spLocks noGrp="1"/>
          </p:cNvSpPr>
          <p:nvPr>
            <p:ph sz="quarter" idx="21"/>
          </p:nvPr>
        </p:nvSpPr>
        <p:spPr>
          <a:xfrm>
            <a:off x="407988" y="1340710"/>
            <a:ext cx="2663592" cy="2376330"/>
          </a:xfrm>
          <a:solidFill>
            <a:schemeClr val="accent1"/>
          </a:solidFill>
        </p:spPr>
        <p:txBody>
          <a:bodyPr lIns="144000" tIns="108000" rIns="144000" bIns="108000" anchor="ctr" anchorCtr="0"/>
          <a:lstStyle>
            <a:lvl1pPr marL="0" indent="0" algn="ctr">
              <a:lnSpc>
                <a:spcPct val="90000"/>
              </a:lnSpc>
              <a:spcBef>
                <a:spcPts val="0"/>
              </a:spcBef>
              <a:buClrTx/>
              <a:buNone/>
              <a:defRPr sz="1800" b="1">
                <a:solidFill>
                  <a:schemeClr val="bg1"/>
                </a:solidFill>
              </a:defRPr>
            </a:lvl1pPr>
            <a:lvl2pPr marL="0" indent="0" algn="ctr">
              <a:buClrTx/>
              <a:buNone/>
              <a:defRPr sz="1600">
                <a:solidFill>
                  <a:schemeClr val="bg1"/>
                </a:solidFill>
              </a:defRPr>
            </a:lvl2pPr>
            <a:lvl3pPr marL="0" indent="0" algn="ctr">
              <a:buClrTx/>
              <a:buNone/>
              <a:defRPr sz="1400">
                <a:solidFill>
                  <a:schemeClr val="bg1"/>
                </a:solidFill>
              </a:defRPr>
            </a:lvl3pPr>
            <a:lvl4pPr marL="0" indent="0" algn="ctr">
              <a:buClrTx/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 algn="ctr">
              <a:buClrTx/>
              <a:buFontTx/>
              <a:buNone/>
              <a:defRPr sz="1000">
                <a:solidFill>
                  <a:schemeClr val="bg1"/>
                </a:solidFill>
              </a:defRPr>
            </a:lvl5pPr>
            <a:lvl6pPr marL="1346200" indent="-274638">
              <a:buClrTx/>
              <a:defRPr>
                <a:solidFill>
                  <a:schemeClr val="bg1"/>
                </a:solidFill>
              </a:defRPr>
            </a:lvl6pPr>
            <a:lvl7pPr marL="0" indent="0">
              <a:buClrTx/>
              <a:buFontTx/>
              <a:buNone/>
              <a:defRPr>
                <a:solidFill>
                  <a:schemeClr val="bg1"/>
                </a:solidFill>
              </a:defRPr>
            </a:lvl7pPr>
            <a:lvl8pPr marL="1878013" indent="-265113">
              <a:buClrTx/>
              <a:defRPr>
                <a:solidFill>
                  <a:schemeClr val="bg1"/>
                </a:solidFill>
              </a:defRPr>
            </a:lvl8pPr>
            <a:lvl9pPr marL="2152650" indent="-274638"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22"/>
          </p:nvPr>
        </p:nvSpPr>
        <p:spPr>
          <a:xfrm>
            <a:off x="3287610" y="1340710"/>
            <a:ext cx="2664370" cy="2376330"/>
          </a:xfrm>
          <a:solidFill>
            <a:schemeClr val="accent2"/>
          </a:solidFill>
        </p:spPr>
        <p:txBody>
          <a:bodyPr lIns="144000" tIns="108000" rIns="144000" bIns="108000" anchor="ctr" anchorCtr="0"/>
          <a:lstStyle>
            <a:lvl1pPr marL="0" indent="0" algn="ctr">
              <a:lnSpc>
                <a:spcPct val="90000"/>
              </a:lnSpc>
              <a:spcBef>
                <a:spcPts val="0"/>
              </a:spcBef>
              <a:buClrTx/>
              <a:buNone/>
              <a:defRPr sz="1800" b="1">
                <a:solidFill>
                  <a:schemeClr val="bg1"/>
                </a:solidFill>
              </a:defRPr>
            </a:lvl1pPr>
            <a:lvl2pPr marL="0" indent="0" algn="ctr">
              <a:buClrTx/>
              <a:buNone/>
              <a:defRPr sz="1600">
                <a:solidFill>
                  <a:schemeClr val="bg1"/>
                </a:solidFill>
              </a:defRPr>
            </a:lvl2pPr>
            <a:lvl3pPr marL="0" indent="0" algn="ctr">
              <a:buClrTx/>
              <a:buNone/>
              <a:defRPr sz="1400">
                <a:solidFill>
                  <a:schemeClr val="bg1"/>
                </a:solidFill>
              </a:defRPr>
            </a:lvl3pPr>
            <a:lvl4pPr marL="0" indent="0" algn="ctr">
              <a:buClrTx/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 algn="ctr">
              <a:buClrTx/>
              <a:buFontTx/>
              <a:buNone/>
              <a:defRPr sz="1000">
                <a:solidFill>
                  <a:schemeClr val="bg1"/>
                </a:solidFill>
              </a:defRPr>
            </a:lvl5pPr>
            <a:lvl6pPr marL="1346200" indent="-274638">
              <a:buClrTx/>
              <a:defRPr>
                <a:solidFill>
                  <a:schemeClr val="bg1"/>
                </a:solidFill>
              </a:defRPr>
            </a:lvl6pPr>
            <a:lvl7pPr marL="0" indent="0">
              <a:buClrTx/>
              <a:buFontTx/>
              <a:buNone/>
              <a:defRPr>
                <a:solidFill>
                  <a:schemeClr val="bg1"/>
                </a:solidFill>
              </a:defRPr>
            </a:lvl7pPr>
            <a:lvl8pPr marL="1878013" indent="-265113">
              <a:buClrTx/>
              <a:defRPr>
                <a:solidFill>
                  <a:schemeClr val="bg1"/>
                </a:solidFill>
              </a:defRPr>
            </a:lvl8pPr>
            <a:lvl9pPr marL="2152650" indent="-274638"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13"/>
          <p:cNvSpPr>
            <a:spLocks noGrp="1"/>
          </p:cNvSpPr>
          <p:nvPr>
            <p:ph sz="quarter" idx="23"/>
          </p:nvPr>
        </p:nvSpPr>
        <p:spPr>
          <a:xfrm>
            <a:off x="6168010" y="1340710"/>
            <a:ext cx="2664370" cy="2376330"/>
          </a:xfrm>
          <a:solidFill>
            <a:schemeClr val="accent3"/>
          </a:solidFill>
        </p:spPr>
        <p:txBody>
          <a:bodyPr lIns="144000" tIns="108000" rIns="144000" bIns="108000" anchor="ctr" anchorCtr="0"/>
          <a:lstStyle>
            <a:lvl1pPr marL="0" indent="0" algn="ctr">
              <a:lnSpc>
                <a:spcPct val="90000"/>
              </a:lnSpc>
              <a:spcBef>
                <a:spcPts val="0"/>
              </a:spcBef>
              <a:buClrTx/>
              <a:buNone/>
              <a:defRPr sz="1800" b="1">
                <a:solidFill>
                  <a:schemeClr val="bg1"/>
                </a:solidFill>
              </a:defRPr>
            </a:lvl1pPr>
            <a:lvl2pPr marL="0" indent="0" algn="ctr">
              <a:buClrTx/>
              <a:buNone/>
              <a:defRPr sz="1600">
                <a:solidFill>
                  <a:schemeClr val="bg1"/>
                </a:solidFill>
              </a:defRPr>
            </a:lvl2pPr>
            <a:lvl3pPr marL="0" indent="0" algn="ctr">
              <a:buClrTx/>
              <a:buNone/>
              <a:defRPr sz="1400">
                <a:solidFill>
                  <a:schemeClr val="bg1"/>
                </a:solidFill>
              </a:defRPr>
            </a:lvl3pPr>
            <a:lvl4pPr marL="0" indent="0" algn="ctr">
              <a:buClrTx/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 algn="ctr">
              <a:buClrTx/>
              <a:buFontTx/>
              <a:buNone/>
              <a:defRPr sz="1000">
                <a:solidFill>
                  <a:schemeClr val="bg1"/>
                </a:solidFill>
              </a:defRPr>
            </a:lvl5pPr>
            <a:lvl6pPr marL="1346200" indent="-274638">
              <a:buClrTx/>
              <a:defRPr>
                <a:solidFill>
                  <a:schemeClr val="bg1"/>
                </a:solidFill>
              </a:defRPr>
            </a:lvl6pPr>
            <a:lvl7pPr marL="0" indent="0">
              <a:buClrTx/>
              <a:buFontTx/>
              <a:buNone/>
              <a:defRPr>
                <a:solidFill>
                  <a:schemeClr val="bg1"/>
                </a:solidFill>
              </a:defRPr>
            </a:lvl7pPr>
            <a:lvl8pPr marL="1878013" indent="-265113">
              <a:buClrTx/>
              <a:defRPr>
                <a:solidFill>
                  <a:schemeClr val="bg1"/>
                </a:solidFill>
              </a:defRPr>
            </a:lvl8pPr>
            <a:lvl9pPr marL="2152650" indent="-274638"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ontent Placeholder 13"/>
          <p:cNvSpPr>
            <a:spLocks noGrp="1"/>
          </p:cNvSpPr>
          <p:nvPr>
            <p:ph sz="quarter" idx="24"/>
          </p:nvPr>
        </p:nvSpPr>
        <p:spPr>
          <a:xfrm>
            <a:off x="407988" y="3933069"/>
            <a:ext cx="4103792" cy="2375656"/>
          </a:xfrm>
          <a:solidFill>
            <a:schemeClr val="accent4"/>
          </a:solidFill>
        </p:spPr>
        <p:txBody>
          <a:bodyPr lIns="144000" tIns="108000" rIns="144000" bIns="108000" anchor="ctr" anchorCtr="0"/>
          <a:lstStyle>
            <a:lvl1pPr marL="0" indent="0" algn="ctr">
              <a:lnSpc>
                <a:spcPct val="90000"/>
              </a:lnSpc>
              <a:spcBef>
                <a:spcPts val="0"/>
              </a:spcBef>
              <a:buClrTx/>
              <a:buNone/>
              <a:defRPr sz="1800" b="1">
                <a:solidFill>
                  <a:schemeClr val="bg1"/>
                </a:solidFill>
              </a:defRPr>
            </a:lvl1pPr>
            <a:lvl2pPr marL="0" indent="0" algn="ctr">
              <a:buClrTx/>
              <a:buNone/>
              <a:defRPr sz="1600">
                <a:solidFill>
                  <a:schemeClr val="bg1"/>
                </a:solidFill>
              </a:defRPr>
            </a:lvl2pPr>
            <a:lvl3pPr marL="0" indent="0" algn="ctr">
              <a:buClrTx/>
              <a:buNone/>
              <a:defRPr sz="1400">
                <a:solidFill>
                  <a:schemeClr val="bg1"/>
                </a:solidFill>
              </a:defRPr>
            </a:lvl3pPr>
            <a:lvl4pPr marL="0" indent="0" algn="ctr">
              <a:buClrTx/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 algn="ctr">
              <a:buClrTx/>
              <a:buFontTx/>
              <a:buNone/>
              <a:defRPr sz="1000">
                <a:solidFill>
                  <a:schemeClr val="bg1"/>
                </a:solidFill>
              </a:defRPr>
            </a:lvl5pPr>
            <a:lvl6pPr marL="1346200" indent="-274638">
              <a:buClrTx/>
              <a:defRPr>
                <a:solidFill>
                  <a:schemeClr val="bg1"/>
                </a:solidFill>
              </a:defRPr>
            </a:lvl6pPr>
            <a:lvl7pPr marL="0" indent="0">
              <a:buClrTx/>
              <a:buFontTx/>
              <a:buNone/>
              <a:defRPr>
                <a:solidFill>
                  <a:schemeClr val="bg1"/>
                </a:solidFill>
              </a:defRPr>
            </a:lvl7pPr>
            <a:lvl8pPr marL="1878013" indent="-265113">
              <a:buClrTx/>
              <a:defRPr>
                <a:solidFill>
                  <a:schemeClr val="bg1"/>
                </a:solidFill>
              </a:defRPr>
            </a:lvl8pPr>
            <a:lvl9pPr marL="2152650" indent="-274638"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13"/>
          <p:cNvSpPr>
            <a:spLocks noGrp="1"/>
          </p:cNvSpPr>
          <p:nvPr>
            <p:ph sz="quarter" idx="25"/>
          </p:nvPr>
        </p:nvSpPr>
        <p:spPr>
          <a:xfrm>
            <a:off x="4727810" y="3933069"/>
            <a:ext cx="4104570" cy="2375656"/>
          </a:xfrm>
          <a:solidFill>
            <a:schemeClr val="accent1"/>
          </a:solidFill>
        </p:spPr>
        <p:txBody>
          <a:bodyPr lIns="144000" tIns="108000" rIns="144000" bIns="108000" anchor="ctr" anchorCtr="0"/>
          <a:lstStyle>
            <a:lvl1pPr marL="0" indent="0" algn="ctr">
              <a:lnSpc>
                <a:spcPct val="90000"/>
              </a:lnSpc>
              <a:spcBef>
                <a:spcPts val="0"/>
              </a:spcBef>
              <a:buClrTx/>
              <a:buNone/>
              <a:defRPr sz="1800" b="1">
                <a:solidFill>
                  <a:schemeClr val="bg1"/>
                </a:solidFill>
              </a:defRPr>
            </a:lvl1pPr>
            <a:lvl2pPr marL="0" indent="0" algn="ctr">
              <a:buClrTx/>
              <a:buNone/>
              <a:defRPr sz="1600">
                <a:solidFill>
                  <a:schemeClr val="bg1"/>
                </a:solidFill>
              </a:defRPr>
            </a:lvl2pPr>
            <a:lvl3pPr marL="0" indent="0" algn="ctr">
              <a:buClrTx/>
              <a:buNone/>
              <a:defRPr sz="1400">
                <a:solidFill>
                  <a:schemeClr val="bg1"/>
                </a:solidFill>
              </a:defRPr>
            </a:lvl3pPr>
            <a:lvl4pPr marL="0" indent="0" algn="ctr">
              <a:buClrTx/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 algn="ctr">
              <a:buClrTx/>
              <a:buFontTx/>
              <a:buNone/>
              <a:defRPr sz="1000">
                <a:solidFill>
                  <a:schemeClr val="bg1"/>
                </a:solidFill>
              </a:defRPr>
            </a:lvl5pPr>
            <a:lvl6pPr marL="1346200" indent="-274638">
              <a:buClrTx/>
              <a:defRPr>
                <a:solidFill>
                  <a:schemeClr val="bg1"/>
                </a:solidFill>
              </a:defRPr>
            </a:lvl6pPr>
            <a:lvl7pPr marL="0" indent="0">
              <a:buClrTx/>
              <a:buFontTx/>
              <a:buNone/>
              <a:defRPr>
                <a:solidFill>
                  <a:schemeClr val="bg1"/>
                </a:solidFill>
              </a:defRPr>
            </a:lvl7pPr>
            <a:lvl8pPr marL="1878013" indent="-265113">
              <a:buClrTx/>
              <a:defRPr>
                <a:solidFill>
                  <a:schemeClr val="bg1"/>
                </a:solidFill>
              </a:defRPr>
            </a:lvl8pPr>
            <a:lvl9pPr marL="2152650" indent="-274638"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27"/>
          </p:nvPr>
        </p:nvSpPr>
        <p:spPr>
          <a:xfrm>
            <a:off x="9047633" y="1340709"/>
            <a:ext cx="2736380" cy="4968015"/>
          </a:xfrm>
          <a:solidFill>
            <a:schemeClr val="accent2"/>
          </a:solidFill>
        </p:spPr>
        <p:txBody>
          <a:bodyPr lIns="144000" tIns="108000" rIns="144000" bIns="108000" anchor="ctr" anchorCtr="0"/>
          <a:lstStyle>
            <a:lvl1pPr marL="0" indent="0" algn="ctr">
              <a:lnSpc>
                <a:spcPct val="90000"/>
              </a:lnSpc>
              <a:spcBef>
                <a:spcPts val="0"/>
              </a:spcBef>
              <a:buClrTx/>
              <a:buNone/>
              <a:defRPr sz="1800" b="1">
                <a:solidFill>
                  <a:schemeClr val="bg1"/>
                </a:solidFill>
              </a:defRPr>
            </a:lvl1pPr>
            <a:lvl2pPr marL="0" indent="0" algn="ctr">
              <a:buClrTx/>
              <a:buNone/>
              <a:defRPr sz="1600">
                <a:solidFill>
                  <a:schemeClr val="bg1"/>
                </a:solidFill>
              </a:defRPr>
            </a:lvl2pPr>
            <a:lvl3pPr marL="0" indent="0" algn="ctr">
              <a:buClrTx/>
              <a:buNone/>
              <a:defRPr sz="1400">
                <a:solidFill>
                  <a:schemeClr val="bg1"/>
                </a:solidFill>
              </a:defRPr>
            </a:lvl3pPr>
            <a:lvl4pPr marL="0" indent="0" algn="ctr">
              <a:buClrTx/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 algn="ctr">
              <a:buClrTx/>
              <a:buFontTx/>
              <a:buNone/>
              <a:defRPr sz="1000">
                <a:solidFill>
                  <a:schemeClr val="bg1"/>
                </a:solidFill>
              </a:defRPr>
            </a:lvl5pPr>
            <a:lvl6pPr marL="1346200" indent="-274638">
              <a:buClrTx/>
              <a:defRPr>
                <a:solidFill>
                  <a:schemeClr val="bg1"/>
                </a:solidFill>
              </a:defRPr>
            </a:lvl6pPr>
            <a:lvl7pPr marL="0" indent="0">
              <a:buClrTx/>
              <a:buFontTx/>
              <a:buNone/>
              <a:defRPr>
                <a:solidFill>
                  <a:schemeClr val="bg1"/>
                </a:solidFill>
              </a:defRPr>
            </a:lvl7pPr>
            <a:lvl8pPr marL="1878013" indent="-265113">
              <a:buClrTx/>
              <a:defRPr>
                <a:solidFill>
                  <a:schemeClr val="bg1"/>
                </a:solidFill>
              </a:defRPr>
            </a:lvl8pPr>
            <a:lvl9pPr marL="2152650" indent="-274638"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005365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C7278BB6-9B40-455C-97E4-38F027DEA00B}" type="datetime1">
              <a:rPr lang="fi-FI" smtClean="0"/>
              <a:t>31.3.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Presentation name and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50B285B-2D20-4CC2-81CD-215A1F1E113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766764" y="1844676"/>
            <a:ext cx="10658472" cy="2016124"/>
          </a:xfrm>
        </p:spPr>
        <p:txBody>
          <a:bodyPr anchor="b" anchorCtr="0"/>
          <a:lstStyle>
            <a:lvl1pPr algn="ctr">
              <a:defRPr sz="6000" baseline="0"/>
            </a:lvl1pPr>
          </a:lstStyle>
          <a:p>
            <a:r>
              <a:rPr lang="en-US" dirty="0"/>
              <a:t>Type your thank you message here.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1507761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PIC2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777038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4652963"/>
            <a:ext cx="12192000" cy="2124075"/>
          </a:xfrm>
          <a:solidFill>
            <a:schemeClr val="tx1">
              <a:alpha val="40000"/>
            </a:schemeClr>
          </a:solidFill>
        </p:spPr>
        <p:txBody>
          <a:bodyPr lIns="756000" tIns="504000" rIns="756000" bIns="936000" anchor="t" anchorCtr="0"/>
          <a:lstStyle>
            <a:lvl1pPr algn="l">
              <a:lnSpc>
                <a:spcPct val="85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6763" y="5949350"/>
            <a:ext cx="11017249" cy="359374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EAB3B1D9-5529-4186-8634-E90761927DBE}" type="datetime1">
              <a:rPr lang="fi-FI" smtClean="0"/>
              <a:t>31.3.2025</a:t>
            </a:fld>
            <a:endParaRPr lang="en-US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Presentation name and Author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50B285B-2D20-4CC2-81CD-215A1F1E1130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7" name="Group 16"/>
          <p:cNvGrpSpPr>
            <a:grpSpLocks noChangeAspect="1"/>
          </p:cNvGrpSpPr>
          <p:nvPr userDrawn="1"/>
        </p:nvGrpSpPr>
        <p:grpSpPr>
          <a:xfrm>
            <a:off x="10081690" y="404580"/>
            <a:ext cx="1703100" cy="270000"/>
            <a:chOff x="1455738" y="2698750"/>
            <a:chExt cx="9272588" cy="1470025"/>
          </a:xfrm>
        </p:grpSpPr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1455738" y="2698750"/>
              <a:ext cx="2762250" cy="1416050"/>
            </a:xfrm>
            <a:custGeom>
              <a:avLst/>
              <a:gdLst>
                <a:gd name="T0" fmla="*/ 1740 w 1740"/>
                <a:gd name="T1" fmla="*/ 192 h 892"/>
                <a:gd name="T2" fmla="*/ 1591 w 1740"/>
                <a:gd name="T3" fmla="*/ 483 h 892"/>
                <a:gd name="T4" fmla="*/ 1457 w 1740"/>
                <a:gd name="T5" fmla="*/ 741 h 892"/>
                <a:gd name="T6" fmla="*/ 1047 w 1740"/>
                <a:gd name="T7" fmla="*/ 709 h 892"/>
                <a:gd name="T8" fmla="*/ 607 w 1740"/>
                <a:gd name="T9" fmla="*/ 713 h 892"/>
                <a:gd name="T10" fmla="*/ 257 w 1740"/>
                <a:gd name="T11" fmla="*/ 742 h 892"/>
                <a:gd name="T12" fmla="*/ 149 w 1740"/>
                <a:gd name="T13" fmla="*/ 483 h 892"/>
                <a:gd name="T14" fmla="*/ 0 w 1740"/>
                <a:gd name="T15" fmla="*/ 189 h 892"/>
                <a:gd name="T16" fmla="*/ 36 w 1740"/>
                <a:gd name="T17" fmla="*/ 180 h 892"/>
                <a:gd name="T18" fmla="*/ 121 w 1740"/>
                <a:gd name="T19" fmla="*/ 218 h 892"/>
                <a:gd name="T20" fmla="*/ 194 w 1740"/>
                <a:gd name="T21" fmla="*/ 280 h 892"/>
                <a:gd name="T22" fmla="*/ 249 w 1740"/>
                <a:gd name="T23" fmla="*/ 235 h 892"/>
                <a:gd name="T24" fmla="*/ 335 w 1740"/>
                <a:gd name="T25" fmla="*/ 232 h 892"/>
                <a:gd name="T26" fmla="*/ 390 w 1740"/>
                <a:gd name="T27" fmla="*/ 272 h 892"/>
                <a:gd name="T28" fmla="*/ 362 w 1740"/>
                <a:gd name="T29" fmla="*/ 310 h 892"/>
                <a:gd name="T30" fmla="*/ 334 w 1740"/>
                <a:gd name="T31" fmla="*/ 386 h 892"/>
                <a:gd name="T32" fmla="*/ 344 w 1740"/>
                <a:gd name="T33" fmla="*/ 462 h 892"/>
                <a:gd name="T34" fmla="*/ 405 w 1740"/>
                <a:gd name="T35" fmla="*/ 538 h 892"/>
                <a:gd name="T36" fmla="*/ 492 w 1740"/>
                <a:gd name="T37" fmla="*/ 572 h 892"/>
                <a:gd name="T38" fmla="*/ 590 w 1740"/>
                <a:gd name="T39" fmla="*/ 561 h 892"/>
                <a:gd name="T40" fmla="*/ 658 w 1740"/>
                <a:gd name="T41" fmla="*/ 519 h 892"/>
                <a:gd name="T42" fmla="*/ 706 w 1740"/>
                <a:gd name="T43" fmla="*/ 439 h 892"/>
                <a:gd name="T44" fmla="*/ 704 w 1740"/>
                <a:gd name="T45" fmla="*/ 352 h 892"/>
                <a:gd name="T46" fmla="*/ 653 w 1740"/>
                <a:gd name="T47" fmla="*/ 275 h 892"/>
                <a:gd name="T48" fmla="*/ 596 w 1740"/>
                <a:gd name="T49" fmla="*/ 239 h 892"/>
                <a:gd name="T50" fmla="*/ 615 w 1740"/>
                <a:gd name="T51" fmla="*/ 201 h 892"/>
                <a:gd name="T52" fmla="*/ 678 w 1740"/>
                <a:gd name="T53" fmla="*/ 167 h 892"/>
                <a:gd name="T54" fmla="*/ 760 w 1740"/>
                <a:gd name="T55" fmla="*/ 178 h 892"/>
                <a:gd name="T56" fmla="*/ 790 w 1740"/>
                <a:gd name="T57" fmla="*/ 100 h 892"/>
                <a:gd name="T58" fmla="*/ 822 w 1740"/>
                <a:gd name="T59" fmla="*/ 39 h 892"/>
                <a:gd name="T60" fmla="*/ 871 w 1740"/>
                <a:gd name="T61" fmla="*/ 0 h 892"/>
                <a:gd name="T62" fmla="*/ 920 w 1740"/>
                <a:gd name="T63" fmla="*/ 39 h 892"/>
                <a:gd name="T64" fmla="*/ 962 w 1740"/>
                <a:gd name="T65" fmla="*/ 152 h 892"/>
                <a:gd name="T66" fmla="*/ 1027 w 1740"/>
                <a:gd name="T67" fmla="*/ 165 h 892"/>
                <a:gd name="T68" fmla="*/ 1093 w 1740"/>
                <a:gd name="T69" fmla="*/ 177 h 892"/>
                <a:gd name="T70" fmla="*/ 1145 w 1740"/>
                <a:gd name="T71" fmla="*/ 228 h 892"/>
                <a:gd name="T72" fmla="*/ 1134 w 1740"/>
                <a:gd name="T73" fmla="*/ 245 h 892"/>
                <a:gd name="T74" fmla="*/ 1062 w 1740"/>
                <a:gd name="T75" fmla="*/ 301 h 892"/>
                <a:gd name="T76" fmla="*/ 1033 w 1740"/>
                <a:gd name="T77" fmla="*/ 364 h 892"/>
                <a:gd name="T78" fmla="*/ 1037 w 1740"/>
                <a:gd name="T79" fmla="*/ 447 h 892"/>
                <a:gd name="T80" fmla="*/ 1076 w 1740"/>
                <a:gd name="T81" fmla="*/ 513 h 892"/>
                <a:gd name="T82" fmla="*/ 1159 w 1740"/>
                <a:gd name="T83" fmla="*/ 564 h 892"/>
                <a:gd name="T84" fmla="*/ 1257 w 1740"/>
                <a:gd name="T85" fmla="*/ 570 h 892"/>
                <a:gd name="T86" fmla="*/ 1348 w 1740"/>
                <a:gd name="T87" fmla="*/ 527 h 892"/>
                <a:gd name="T88" fmla="*/ 1393 w 1740"/>
                <a:gd name="T89" fmla="*/ 470 h 892"/>
                <a:gd name="T90" fmla="*/ 1406 w 1740"/>
                <a:gd name="T91" fmla="*/ 386 h 892"/>
                <a:gd name="T92" fmla="*/ 1378 w 1740"/>
                <a:gd name="T93" fmla="*/ 310 h 892"/>
                <a:gd name="T94" fmla="*/ 1350 w 1740"/>
                <a:gd name="T95" fmla="*/ 270 h 892"/>
                <a:gd name="T96" fmla="*/ 1400 w 1740"/>
                <a:gd name="T97" fmla="*/ 234 h 892"/>
                <a:gd name="T98" fmla="*/ 1468 w 1740"/>
                <a:gd name="T99" fmla="*/ 228 h 892"/>
                <a:gd name="T100" fmla="*/ 1530 w 1740"/>
                <a:gd name="T101" fmla="*/ 261 h 892"/>
                <a:gd name="T102" fmla="*/ 1602 w 1740"/>
                <a:gd name="T103" fmla="*/ 232 h 892"/>
                <a:gd name="T104" fmla="*/ 1696 w 1740"/>
                <a:gd name="T105" fmla="*/ 181 h 892"/>
                <a:gd name="T106" fmla="*/ 1458 w 1740"/>
                <a:gd name="T107" fmla="*/ 812 h 892"/>
                <a:gd name="T108" fmla="*/ 1432 w 1740"/>
                <a:gd name="T109" fmla="*/ 892 h 892"/>
                <a:gd name="T110" fmla="*/ 946 w 1740"/>
                <a:gd name="T111" fmla="*/ 861 h 892"/>
                <a:gd name="T112" fmla="*/ 313 w 1740"/>
                <a:gd name="T113" fmla="*/ 892 h 892"/>
                <a:gd name="T114" fmla="*/ 280 w 1740"/>
                <a:gd name="T115" fmla="*/ 816 h 892"/>
                <a:gd name="T116" fmla="*/ 457 w 1740"/>
                <a:gd name="T117" fmla="*/ 790 h 892"/>
                <a:gd name="T118" fmla="*/ 914 w 1740"/>
                <a:gd name="T119" fmla="*/ 772 h 892"/>
                <a:gd name="T120" fmla="*/ 1449 w 1740"/>
                <a:gd name="T121" fmla="*/ 806 h 8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40" h="892">
                  <a:moveTo>
                    <a:pt x="1729" y="178"/>
                  </a:moveTo>
                  <a:lnTo>
                    <a:pt x="1734" y="179"/>
                  </a:lnTo>
                  <a:lnTo>
                    <a:pt x="1735" y="180"/>
                  </a:lnTo>
                  <a:lnTo>
                    <a:pt x="1737" y="181"/>
                  </a:lnTo>
                  <a:lnTo>
                    <a:pt x="1738" y="182"/>
                  </a:lnTo>
                  <a:lnTo>
                    <a:pt x="1739" y="184"/>
                  </a:lnTo>
                  <a:lnTo>
                    <a:pt x="1740" y="186"/>
                  </a:lnTo>
                  <a:lnTo>
                    <a:pt x="1740" y="188"/>
                  </a:lnTo>
                  <a:lnTo>
                    <a:pt x="1740" y="192"/>
                  </a:lnTo>
                  <a:lnTo>
                    <a:pt x="1738" y="194"/>
                  </a:lnTo>
                  <a:lnTo>
                    <a:pt x="1718" y="230"/>
                  </a:lnTo>
                  <a:lnTo>
                    <a:pt x="1698" y="266"/>
                  </a:lnTo>
                  <a:lnTo>
                    <a:pt x="1678" y="302"/>
                  </a:lnTo>
                  <a:lnTo>
                    <a:pt x="1659" y="338"/>
                  </a:lnTo>
                  <a:lnTo>
                    <a:pt x="1641" y="375"/>
                  </a:lnTo>
                  <a:lnTo>
                    <a:pt x="1624" y="411"/>
                  </a:lnTo>
                  <a:lnTo>
                    <a:pt x="1607" y="447"/>
                  </a:lnTo>
                  <a:lnTo>
                    <a:pt x="1591" y="483"/>
                  </a:lnTo>
                  <a:lnTo>
                    <a:pt x="1561" y="552"/>
                  </a:lnTo>
                  <a:lnTo>
                    <a:pt x="1534" y="618"/>
                  </a:lnTo>
                  <a:lnTo>
                    <a:pt x="1510" y="680"/>
                  </a:lnTo>
                  <a:lnTo>
                    <a:pt x="1489" y="736"/>
                  </a:lnTo>
                  <a:lnTo>
                    <a:pt x="1488" y="739"/>
                  </a:lnTo>
                  <a:lnTo>
                    <a:pt x="1485" y="741"/>
                  </a:lnTo>
                  <a:lnTo>
                    <a:pt x="1482" y="743"/>
                  </a:lnTo>
                  <a:lnTo>
                    <a:pt x="1479" y="743"/>
                  </a:lnTo>
                  <a:lnTo>
                    <a:pt x="1457" y="741"/>
                  </a:lnTo>
                  <a:lnTo>
                    <a:pt x="1412" y="736"/>
                  </a:lnTo>
                  <a:lnTo>
                    <a:pt x="1385" y="733"/>
                  </a:lnTo>
                  <a:lnTo>
                    <a:pt x="1356" y="730"/>
                  </a:lnTo>
                  <a:lnTo>
                    <a:pt x="1324" y="727"/>
                  </a:lnTo>
                  <a:lnTo>
                    <a:pt x="1289" y="724"/>
                  </a:lnTo>
                  <a:lnTo>
                    <a:pt x="1214" y="718"/>
                  </a:lnTo>
                  <a:lnTo>
                    <a:pt x="1133" y="713"/>
                  </a:lnTo>
                  <a:lnTo>
                    <a:pt x="1090" y="711"/>
                  </a:lnTo>
                  <a:lnTo>
                    <a:pt x="1047" y="709"/>
                  </a:lnTo>
                  <a:lnTo>
                    <a:pt x="1003" y="708"/>
                  </a:lnTo>
                  <a:lnTo>
                    <a:pt x="959" y="707"/>
                  </a:lnTo>
                  <a:lnTo>
                    <a:pt x="915" y="706"/>
                  </a:lnTo>
                  <a:lnTo>
                    <a:pt x="871" y="706"/>
                  </a:lnTo>
                  <a:lnTo>
                    <a:pt x="826" y="706"/>
                  </a:lnTo>
                  <a:lnTo>
                    <a:pt x="782" y="707"/>
                  </a:lnTo>
                  <a:lnTo>
                    <a:pt x="738" y="708"/>
                  </a:lnTo>
                  <a:lnTo>
                    <a:pt x="693" y="709"/>
                  </a:lnTo>
                  <a:lnTo>
                    <a:pt x="607" y="713"/>
                  </a:lnTo>
                  <a:lnTo>
                    <a:pt x="526" y="718"/>
                  </a:lnTo>
                  <a:lnTo>
                    <a:pt x="488" y="721"/>
                  </a:lnTo>
                  <a:lnTo>
                    <a:pt x="451" y="724"/>
                  </a:lnTo>
                  <a:lnTo>
                    <a:pt x="384" y="730"/>
                  </a:lnTo>
                  <a:lnTo>
                    <a:pt x="328" y="736"/>
                  </a:lnTo>
                  <a:lnTo>
                    <a:pt x="284" y="741"/>
                  </a:lnTo>
                  <a:lnTo>
                    <a:pt x="263" y="743"/>
                  </a:lnTo>
                  <a:lnTo>
                    <a:pt x="259" y="743"/>
                  </a:lnTo>
                  <a:lnTo>
                    <a:pt x="257" y="742"/>
                  </a:lnTo>
                  <a:lnTo>
                    <a:pt x="255" y="741"/>
                  </a:lnTo>
                  <a:lnTo>
                    <a:pt x="254" y="740"/>
                  </a:lnTo>
                  <a:lnTo>
                    <a:pt x="253" y="739"/>
                  </a:lnTo>
                  <a:lnTo>
                    <a:pt x="251" y="736"/>
                  </a:lnTo>
                  <a:lnTo>
                    <a:pt x="230" y="680"/>
                  </a:lnTo>
                  <a:lnTo>
                    <a:pt x="206" y="618"/>
                  </a:lnTo>
                  <a:lnTo>
                    <a:pt x="179" y="552"/>
                  </a:lnTo>
                  <a:lnTo>
                    <a:pt x="164" y="518"/>
                  </a:lnTo>
                  <a:lnTo>
                    <a:pt x="149" y="483"/>
                  </a:lnTo>
                  <a:lnTo>
                    <a:pt x="116" y="411"/>
                  </a:lnTo>
                  <a:lnTo>
                    <a:pt x="99" y="374"/>
                  </a:lnTo>
                  <a:lnTo>
                    <a:pt x="81" y="338"/>
                  </a:lnTo>
                  <a:lnTo>
                    <a:pt x="62" y="302"/>
                  </a:lnTo>
                  <a:lnTo>
                    <a:pt x="42" y="266"/>
                  </a:lnTo>
                  <a:lnTo>
                    <a:pt x="22" y="230"/>
                  </a:lnTo>
                  <a:lnTo>
                    <a:pt x="2" y="194"/>
                  </a:lnTo>
                  <a:lnTo>
                    <a:pt x="1" y="191"/>
                  </a:lnTo>
                  <a:lnTo>
                    <a:pt x="0" y="189"/>
                  </a:lnTo>
                  <a:lnTo>
                    <a:pt x="0" y="186"/>
                  </a:lnTo>
                  <a:lnTo>
                    <a:pt x="2" y="183"/>
                  </a:lnTo>
                  <a:lnTo>
                    <a:pt x="3" y="181"/>
                  </a:lnTo>
                  <a:lnTo>
                    <a:pt x="6" y="179"/>
                  </a:lnTo>
                  <a:lnTo>
                    <a:pt x="8" y="178"/>
                  </a:lnTo>
                  <a:lnTo>
                    <a:pt x="11" y="178"/>
                  </a:lnTo>
                  <a:lnTo>
                    <a:pt x="19" y="178"/>
                  </a:lnTo>
                  <a:lnTo>
                    <a:pt x="28" y="179"/>
                  </a:lnTo>
                  <a:lnTo>
                    <a:pt x="36" y="180"/>
                  </a:lnTo>
                  <a:lnTo>
                    <a:pt x="44" y="181"/>
                  </a:lnTo>
                  <a:lnTo>
                    <a:pt x="52" y="183"/>
                  </a:lnTo>
                  <a:lnTo>
                    <a:pt x="59" y="186"/>
                  </a:lnTo>
                  <a:lnTo>
                    <a:pt x="74" y="191"/>
                  </a:lnTo>
                  <a:lnTo>
                    <a:pt x="82" y="194"/>
                  </a:lnTo>
                  <a:lnTo>
                    <a:pt x="89" y="198"/>
                  </a:lnTo>
                  <a:lnTo>
                    <a:pt x="102" y="205"/>
                  </a:lnTo>
                  <a:lnTo>
                    <a:pt x="115" y="214"/>
                  </a:lnTo>
                  <a:lnTo>
                    <a:pt x="121" y="218"/>
                  </a:lnTo>
                  <a:lnTo>
                    <a:pt x="127" y="223"/>
                  </a:lnTo>
                  <a:lnTo>
                    <a:pt x="133" y="227"/>
                  </a:lnTo>
                  <a:lnTo>
                    <a:pt x="138" y="232"/>
                  </a:lnTo>
                  <a:lnTo>
                    <a:pt x="149" y="241"/>
                  </a:lnTo>
                  <a:lnTo>
                    <a:pt x="167" y="259"/>
                  </a:lnTo>
                  <a:lnTo>
                    <a:pt x="174" y="267"/>
                  </a:lnTo>
                  <a:lnTo>
                    <a:pt x="181" y="275"/>
                  </a:lnTo>
                  <a:lnTo>
                    <a:pt x="190" y="287"/>
                  </a:lnTo>
                  <a:lnTo>
                    <a:pt x="194" y="280"/>
                  </a:lnTo>
                  <a:lnTo>
                    <a:pt x="199" y="273"/>
                  </a:lnTo>
                  <a:lnTo>
                    <a:pt x="204" y="267"/>
                  </a:lnTo>
                  <a:lnTo>
                    <a:pt x="210" y="261"/>
                  </a:lnTo>
                  <a:lnTo>
                    <a:pt x="216" y="256"/>
                  </a:lnTo>
                  <a:lnTo>
                    <a:pt x="222" y="251"/>
                  </a:lnTo>
                  <a:lnTo>
                    <a:pt x="228" y="246"/>
                  </a:lnTo>
                  <a:lnTo>
                    <a:pt x="235" y="242"/>
                  </a:lnTo>
                  <a:lnTo>
                    <a:pt x="242" y="238"/>
                  </a:lnTo>
                  <a:lnTo>
                    <a:pt x="249" y="235"/>
                  </a:lnTo>
                  <a:lnTo>
                    <a:pt x="264" y="230"/>
                  </a:lnTo>
                  <a:lnTo>
                    <a:pt x="272" y="228"/>
                  </a:lnTo>
                  <a:lnTo>
                    <a:pt x="280" y="227"/>
                  </a:lnTo>
                  <a:lnTo>
                    <a:pt x="288" y="226"/>
                  </a:lnTo>
                  <a:lnTo>
                    <a:pt x="296" y="226"/>
                  </a:lnTo>
                  <a:lnTo>
                    <a:pt x="309" y="226"/>
                  </a:lnTo>
                  <a:lnTo>
                    <a:pt x="316" y="227"/>
                  </a:lnTo>
                  <a:lnTo>
                    <a:pt x="322" y="228"/>
                  </a:lnTo>
                  <a:lnTo>
                    <a:pt x="335" y="232"/>
                  </a:lnTo>
                  <a:lnTo>
                    <a:pt x="346" y="236"/>
                  </a:lnTo>
                  <a:lnTo>
                    <a:pt x="358" y="242"/>
                  </a:lnTo>
                  <a:lnTo>
                    <a:pt x="368" y="249"/>
                  </a:lnTo>
                  <a:lnTo>
                    <a:pt x="374" y="253"/>
                  </a:lnTo>
                  <a:lnTo>
                    <a:pt x="378" y="257"/>
                  </a:lnTo>
                  <a:lnTo>
                    <a:pt x="388" y="266"/>
                  </a:lnTo>
                  <a:lnTo>
                    <a:pt x="389" y="268"/>
                  </a:lnTo>
                  <a:lnTo>
                    <a:pt x="390" y="270"/>
                  </a:lnTo>
                  <a:lnTo>
                    <a:pt x="390" y="272"/>
                  </a:lnTo>
                  <a:lnTo>
                    <a:pt x="390" y="274"/>
                  </a:lnTo>
                  <a:lnTo>
                    <a:pt x="390" y="276"/>
                  </a:lnTo>
                  <a:lnTo>
                    <a:pt x="389" y="278"/>
                  </a:lnTo>
                  <a:lnTo>
                    <a:pt x="388" y="280"/>
                  </a:lnTo>
                  <a:lnTo>
                    <a:pt x="387" y="281"/>
                  </a:lnTo>
                  <a:lnTo>
                    <a:pt x="380" y="288"/>
                  </a:lnTo>
                  <a:lnTo>
                    <a:pt x="374" y="295"/>
                  </a:lnTo>
                  <a:lnTo>
                    <a:pt x="368" y="303"/>
                  </a:lnTo>
                  <a:lnTo>
                    <a:pt x="362" y="310"/>
                  </a:lnTo>
                  <a:lnTo>
                    <a:pt x="357" y="318"/>
                  </a:lnTo>
                  <a:lnTo>
                    <a:pt x="353" y="326"/>
                  </a:lnTo>
                  <a:lnTo>
                    <a:pt x="349" y="334"/>
                  </a:lnTo>
                  <a:lnTo>
                    <a:pt x="345" y="342"/>
                  </a:lnTo>
                  <a:lnTo>
                    <a:pt x="342" y="351"/>
                  </a:lnTo>
                  <a:lnTo>
                    <a:pt x="339" y="360"/>
                  </a:lnTo>
                  <a:lnTo>
                    <a:pt x="337" y="368"/>
                  </a:lnTo>
                  <a:lnTo>
                    <a:pt x="335" y="377"/>
                  </a:lnTo>
                  <a:lnTo>
                    <a:pt x="334" y="386"/>
                  </a:lnTo>
                  <a:lnTo>
                    <a:pt x="333" y="395"/>
                  </a:lnTo>
                  <a:lnTo>
                    <a:pt x="333" y="404"/>
                  </a:lnTo>
                  <a:lnTo>
                    <a:pt x="333" y="414"/>
                  </a:lnTo>
                  <a:lnTo>
                    <a:pt x="334" y="422"/>
                  </a:lnTo>
                  <a:lnTo>
                    <a:pt x="335" y="430"/>
                  </a:lnTo>
                  <a:lnTo>
                    <a:pt x="337" y="438"/>
                  </a:lnTo>
                  <a:lnTo>
                    <a:pt x="339" y="446"/>
                  </a:lnTo>
                  <a:lnTo>
                    <a:pt x="342" y="454"/>
                  </a:lnTo>
                  <a:lnTo>
                    <a:pt x="344" y="462"/>
                  </a:lnTo>
                  <a:lnTo>
                    <a:pt x="348" y="470"/>
                  </a:lnTo>
                  <a:lnTo>
                    <a:pt x="351" y="477"/>
                  </a:lnTo>
                  <a:lnTo>
                    <a:pt x="355" y="484"/>
                  </a:lnTo>
                  <a:lnTo>
                    <a:pt x="360" y="491"/>
                  </a:lnTo>
                  <a:lnTo>
                    <a:pt x="369" y="504"/>
                  </a:lnTo>
                  <a:lnTo>
                    <a:pt x="380" y="516"/>
                  </a:lnTo>
                  <a:lnTo>
                    <a:pt x="386" y="522"/>
                  </a:lnTo>
                  <a:lnTo>
                    <a:pt x="392" y="527"/>
                  </a:lnTo>
                  <a:lnTo>
                    <a:pt x="405" y="538"/>
                  </a:lnTo>
                  <a:lnTo>
                    <a:pt x="412" y="542"/>
                  </a:lnTo>
                  <a:lnTo>
                    <a:pt x="419" y="547"/>
                  </a:lnTo>
                  <a:lnTo>
                    <a:pt x="434" y="555"/>
                  </a:lnTo>
                  <a:lnTo>
                    <a:pt x="442" y="558"/>
                  </a:lnTo>
                  <a:lnTo>
                    <a:pt x="450" y="561"/>
                  </a:lnTo>
                  <a:lnTo>
                    <a:pt x="466" y="566"/>
                  </a:lnTo>
                  <a:lnTo>
                    <a:pt x="475" y="569"/>
                  </a:lnTo>
                  <a:lnTo>
                    <a:pt x="484" y="570"/>
                  </a:lnTo>
                  <a:lnTo>
                    <a:pt x="492" y="572"/>
                  </a:lnTo>
                  <a:lnTo>
                    <a:pt x="501" y="573"/>
                  </a:lnTo>
                  <a:lnTo>
                    <a:pt x="519" y="573"/>
                  </a:lnTo>
                  <a:lnTo>
                    <a:pt x="534" y="573"/>
                  </a:lnTo>
                  <a:lnTo>
                    <a:pt x="544" y="572"/>
                  </a:lnTo>
                  <a:lnTo>
                    <a:pt x="553" y="571"/>
                  </a:lnTo>
                  <a:lnTo>
                    <a:pt x="563" y="569"/>
                  </a:lnTo>
                  <a:lnTo>
                    <a:pt x="572" y="567"/>
                  </a:lnTo>
                  <a:lnTo>
                    <a:pt x="581" y="564"/>
                  </a:lnTo>
                  <a:lnTo>
                    <a:pt x="590" y="561"/>
                  </a:lnTo>
                  <a:lnTo>
                    <a:pt x="598" y="558"/>
                  </a:lnTo>
                  <a:lnTo>
                    <a:pt x="607" y="554"/>
                  </a:lnTo>
                  <a:lnTo>
                    <a:pt x="615" y="550"/>
                  </a:lnTo>
                  <a:lnTo>
                    <a:pt x="623" y="546"/>
                  </a:lnTo>
                  <a:lnTo>
                    <a:pt x="630" y="541"/>
                  </a:lnTo>
                  <a:lnTo>
                    <a:pt x="637" y="536"/>
                  </a:lnTo>
                  <a:lnTo>
                    <a:pt x="645" y="531"/>
                  </a:lnTo>
                  <a:lnTo>
                    <a:pt x="651" y="525"/>
                  </a:lnTo>
                  <a:lnTo>
                    <a:pt x="658" y="519"/>
                  </a:lnTo>
                  <a:lnTo>
                    <a:pt x="664" y="513"/>
                  </a:lnTo>
                  <a:lnTo>
                    <a:pt x="670" y="507"/>
                  </a:lnTo>
                  <a:lnTo>
                    <a:pt x="675" y="500"/>
                  </a:lnTo>
                  <a:lnTo>
                    <a:pt x="685" y="486"/>
                  </a:lnTo>
                  <a:lnTo>
                    <a:pt x="690" y="479"/>
                  </a:lnTo>
                  <a:lnTo>
                    <a:pt x="694" y="471"/>
                  </a:lnTo>
                  <a:lnTo>
                    <a:pt x="701" y="455"/>
                  </a:lnTo>
                  <a:lnTo>
                    <a:pt x="703" y="447"/>
                  </a:lnTo>
                  <a:lnTo>
                    <a:pt x="706" y="439"/>
                  </a:lnTo>
                  <a:lnTo>
                    <a:pt x="708" y="430"/>
                  </a:lnTo>
                  <a:lnTo>
                    <a:pt x="709" y="422"/>
                  </a:lnTo>
                  <a:lnTo>
                    <a:pt x="710" y="413"/>
                  </a:lnTo>
                  <a:lnTo>
                    <a:pt x="711" y="405"/>
                  </a:lnTo>
                  <a:lnTo>
                    <a:pt x="711" y="396"/>
                  </a:lnTo>
                  <a:lnTo>
                    <a:pt x="711" y="387"/>
                  </a:lnTo>
                  <a:lnTo>
                    <a:pt x="709" y="375"/>
                  </a:lnTo>
                  <a:lnTo>
                    <a:pt x="707" y="364"/>
                  </a:lnTo>
                  <a:lnTo>
                    <a:pt x="704" y="352"/>
                  </a:lnTo>
                  <a:lnTo>
                    <a:pt x="701" y="341"/>
                  </a:lnTo>
                  <a:lnTo>
                    <a:pt x="696" y="331"/>
                  </a:lnTo>
                  <a:lnTo>
                    <a:pt x="691" y="320"/>
                  </a:lnTo>
                  <a:lnTo>
                    <a:pt x="685" y="310"/>
                  </a:lnTo>
                  <a:lnTo>
                    <a:pt x="678" y="301"/>
                  </a:lnTo>
                  <a:lnTo>
                    <a:pt x="674" y="296"/>
                  </a:lnTo>
                  <a:lnTo>
                    <a:pt x="670" y="292"/>
                  </a:lnTo>
                  <a:lnTo>
                    <a:pt x="662" y="283"/>
                  </a:lnTo>
                  <a:lnTo>
                    <a:pt x="653" y="275"/>
                  </a:lnTo>
                  <a:lnTo>
                    <a:pt x="649" y="271"/>
                  </a:lnTo>
                  <a:lnTo>
                    <a:pt x="644" y="267"/>
                  </a:lnTo>
                  <a:lnTo>
                    <a:pt x="634" y="260"/>
                  </a:lnTo>
                  <a:lnTo>
                    <a:pt x="624" y="254"/>
                  </a:lnTo>
                  <a:lnTo>
                    <a:pt x="612" y="248"/>
                  </a:lnTo>
                  <a:lnTo>
                    <a:pt x="601" y="243"/>
                  </a:lnTo>
                  <a:lnTo>
                    <a:pt x="599" y="242"/>
                  </a:lnTo>
                  <a:lnTo>
                    <a:pt x="597" y="240"/>
                  </a:lnTo>
                  <a:lnTo>
                    <a:pt x="596" y="239"/>
                  </a:lnTo>
                  <a:lnTo>
                    <a:pt x="595" y="237"/>
                  </a:lnTo>
                  <a:lnTo>
                    <a:pt x="594" y="234"/>
                  </a:lnTo>
                  <a:lnTo>
                    <a:pt x="594" y="232"/>
                  </a:lnTo>
                  <a:lnTo>
                    <a:pt x="595" y="230"/>
                  </a:lnTo>
                  <a:lnTo>
                    <a:pt x="595" y="228"/>
                  </a:lnTo>
                  <a:lnTo>
                    <a:pt x="600" y="221"/>
                  </a:lnTo>
                  <a:lnTo>
                    <a:pt x="604" y="214"/>
                  </a:lnTo>
                  <a:lnTo>
                    <a:pt x="610" y="207"/>
                  </a:lnTo>
                  <a:lnTo>
                    <a:pt x="615" y="201"/>
                  </a:lnTo>
                  <a:lnTo>
                    <a:pt x="621" y="196"/>
                  </a:lnTo>
                  <a:lnTo>
                    <a:pt x="627" y="190"/>
                  </a:lnTo>
                  <a:lnTo>
                    <a:pt x="634" y="186"/>
                  </a:lnTo>
                  <a:lnTo>
                    <a:pt x="641" y="181"/>
                  </a:lnTo>
                  <a:lnTo>
                    <a:pt x="648" y="177"/>
                  </a:lnTo>
                  <a:lnTo>
                    <a:pt x="655" y="174"/>
                  </a:lnTo>
                  <a:lnTo>
                    <a:pt x="663" y="171"/>
                  </a:lnTo>
                  <a:lnTo>
                    <a:pt x="670" y="169"/>
                  </a:lnTo>
                  <a:lnTo>
                    <a:pt x="678" y="167"/>
                  </a:lnTo>
                  <a:lnTo>
                    <a:pt x="686" y="165"/>
                  </a:lnTo>
                  <a:lnTo>
                    <a:pt x="695" y="164"/>
                  </a:lnTo>
                  <a:lnTo>
                    <a:pt x="703" y="164"/>
                  </a:lnTo>
                  <a:lnTo>
                    <a:pt x="713" y="165"/>
                  </a:lnTo>
                  <a:lnTo>
                    <a:pt x="722" y="166"/>
                  </a:lnTo>
                  <a:lnTo>
                    <a:pt x="733" y="168"/>
                  </a:lnTo>
                  <a:lnTo>
                    <a:pt x="742" y="170"/>
                  </a:lnTo>
                  <a:lnTo>
                    <a:pt x="751" y="174"/>
                  </a:lnTo>
                  <a:lnTo>
                    <a:pt x="760" y="178"/>
                  </a:lnTo>
                  <a:lnTo>
                    <a:pt x="768" y="182"/>
                  </a:lnTo>
                  <a:lnTo>
                    <a:pt x="776" y="188"/>
                  </a:lnTo>
                  <a:lnTo>
                    <a:pt x="777" y="173"/>
                  </a:lnTo>
                  <a:lnTo>
                    <a:pt x="778" y="163"/>
                  </a:lnTo>
                  <a:lnTo>
                    <a:pt x="779" y="152"/>
                  </a:lnTo>
                  <a:lnTo>
                    <a:pt x="781" y="140"/>
                  </a:lnTo>
                  <a:lnTo>
                    <a:pt x="783" y="127"/>
                  </a:lnTo>
                  <a:lnTo>
                    <a:pt x="786" y="114"/>
                  </a:lnTo>
                  <a:lnTo>
                    <a:pt x="790" y="100"/>
                  </a:lnTo>
                  <a:lnTo>
                    <a:pt x="795" y="86"/>
                  </a:lnTo>
                  <a:lnTo>
                    <a:pt x="798" y="79"/>
                  </a:lnTo>
                  <a:lnTo>
                    <a:pt x="801" y="72"/>
                  </a:lnTo>
                  <a:lnTo>
                    <a:pt x="805" y="66"/>
                  </a:lnTo>
                  <a:lnTo>
                    <a:pt x="808" y="59"/>
                  </a:lnTo>
                  <a:lnTo>
                    <a:pt x="812" y="52"/>
                  </a:lnTo>
                  <a:lnTo>
                    <a:pt x="815" y="49"/>
                  </a:lnTo>
                  <a:lnTo>
                    <a:pt x="817" y="46"/>
                  </a:lnTo>
                  <a:lnTo>
                    <a:pt x="822" y="39"/>
                  </a:lnTo>
                  <a:lnTo>
                    <a:pt x="827" y="33"/>
                  </a:lnTo>
                  <a:lnTo>
                    <a:pt x="832" y="27"/>
                  </a:lnTo>
                  <a:lnTo>
                    <a:pt x="838" y="21"/>
                  </a:lnTo>
                  <a:lnTo>
                    <a:pt x="844" y="16"/>
                  </a:lnTo>
                  <a:lnTo>
                    <a:pt x="851" y="11"/>
                  </a:lnTo>
                  <a:lnTo>
                    <a:pt x="858" y="6"/>
                  </a:lnTo>
                  <a:lnTo>
                    <a:pt x="865" y="1"/>
                  </a:lnTo>
                  <a:lnTo>
                    <a:pt x="868" y="0"/>
                  </a:lnTo>
                  <a:lnTo>
                    <a:pt x="871" y="0"/>
                  </a:lnTo>
                  <a:lnTo>
                    <a:pt x="873" y="0"/>
                  </a:lnTo>
                  <a:lnTo>
                    <a:pt x="876" y="1"/>
                  </a:lnTo>
                  <a:lnTo>
                    <a:pt x="883" y="6"/>
                  </a:lnTo>
                  <a:lnTo>
                    <a:pt x="891" y="11"/>
                  </a:lnTo>
                  <a:lnTo>
                    <a:pt x="897" y="16"/>
                  </a:lnTo>
                  <a:lnTo>
                    <a:pt x="903" y="21"/>
                  </a:lnTo>
                  <a:lnTo>
                    <a:pt x="909" y="27"/>
                  </a:lnTo>
                  <a:lnTo>
                    <a:pt x="915" y="33"/>
                  </a:lnTo>
                  <a:lnTo>
                    <a:pt x="920" y="39"/>
                  </a:lnTo>
                  <a:lnTo>
                    <a:pt x="924" y="46"/>
                  </a:lnTo>
                  <a:lnTo>
                    <a:pt x="933" y="59"/>
                  </a:lnTo>
                  <a:lnTo>
                    <a:pt x="940" y="72"/>
                  </a:lnTo>
                  <a:lnTo>
                    <a:pt x="946" y="86"/>
                  </a:lnTo>
                  <a:lnTo>
                    <a:pt x="951" y="100"/>
                  </a:lnTo>
                  <a:lnTo>
                    <a:pt x="955" y="114"/>
                  </a:lnTo>
                  <a:lnTo>
                    <a:pt x="958" y="127"/>
                  </a:lnTo>
                  <a:lnTo>
                    <a:pt x="961" y="140"/>
                  </a:lnTo>
                  <a:lnTo>
                    <a:pt x="962" y="152"/>
                  </a:lnTo>
                  <a:lnTo>
                    <a:pt x="964" y="173"/>
                  </a:lnTo>
                  <a:lnTo>
                    <a:pt x="965" y="188"/>
                  </a:lnTo>
                  <a:lnTo>
                    <a:pt x="973" y="182"/>
                  </a:lnTo>
                  <a:lnTo>
                    <a:pt x="981" y="178"/>
                  </a:lnTo>
                  <a:lnTo>
                    <a:pt x="990" y="174"/>
                  </a:lnTo>
                  <a:lnTo>
                    <a:pt x="999" y="170"/>
                  </a:lnTo>
                  <a:lnTo>
                    <a:pt x="1008" y="168"/>
                  </a:lnTo>
                  <a:lnTo>
                    <a:pt x="1018" y="166"/>
                  </a:lnTo>
                  <a:lnTo>
                    <a:pt x="1027" y="165"/>
                  </a:lnTo>
                  <a:lnTo>
                    <a:pt x="1037" y="164"/>
                  </a:lnTo>
                  <a:lnTo>
                    <a:pt x="1046" y="164"/>
                  </a:lnTo>
                  <a:lnTo>
                    <a:pt x="1054" y="165"/>
                  </a:lnTo>
                  <a:lnTo>
                    <a:pt x="1058" y="166"/>
                  </a:lnTo>
                  <a:lnTo>
                    <a:pt x="1062" y="167"/>
                  </a:lnTo>
                  <a:lnTo>
                    <a:pt x="1070" y="169"/>
                  </a:lnTo>
                  <a:lnTo>
                    <a:pt x="1078" y="171"/>
                  </a:lnTo>
                  <a:lnTo>
                    <a:pt x="1085" y="174"/>
                  </a:lnTo>
                  <a:lnTo>
                    <a:pt x="1093" y="177"/>
                  </a:lnTo>
                  <a:lnTo>
                    <a:pt x="1100" y="181"/>
                  </a:lnTo>
                  <a:lnTo>
                    <a:pt x="1107" y="186"/>
                  </a:lnTo>
                  <a:lnTo>
                    <a:pt x="1113" y="190"/>
                  </a:lnTo>
                  <a:lnTo>
                    <a:pt x="1119" y="196"/>
                  </a:lnTo>
                  <a:lnTo>
                    <a:pt x="1125" y="201"/>
                  </a:lnTo>
                  <a:lnTo>
                    <a:pt x="1131" y="207"/>
                  </a:lnTo>
                  <a:lnTo>
                    <a:pt x="1136" y="214"/>
                  </a:lnTo>
                  <a:lnTo>
                    <a:pt x="1141" y="221"/>
                  </a:lnTo>
                  <a:lnTo>
                    <a:pt x="1145" y="228"/>
                  </a:lnTo>
                  <a:lnTo>
                    <a:pt x="1146" y="230"/>
                  </a:lnTo>
                  <a:lnTo>
                    <a:pt x="1146" y="232"/>
                  </a:lnTo>
                  <a:lnTo>
                    <a:pt x="1146" y="234"/>
                  </a:lnTo>
                  <a:lnTo>
                    <a:pt x="1146" y="237"/>
                  </a:lnTo>
                  <a:lnTo>
                    <a:pt x="1145" y="239"/>
                  </a:lnTo>
                  <a:lnTo>
                    <a:pt x="1143" y="240"/>
                  </a:lnTo>
                  <a:lnTo>
                    <a:pt x="1141" y="242"/>
                  </a:lnTo>
                  <a:lnTo>
                    <a:pt x="1139" y="243"/>
                  </a:lnTo>
                  <a:lnTo>
                    <a:pt x="1134" y="245"/>
                  </a:lnTo>
                  <a:lnTo>
                    <a:pt x="1128" y="248"/>
                  </a:lnTo>
                  <a:lnTo>
                    <a:pt x="1117" y="254"/>
                  </a:lnTo>
                  <a:lnTo>
                    <a:pt x="1106" y="260"/>
                  </a:lnTo>
                  <a:lnTo>
                    <a:pt x="1096" y="267"/>
                  </a:lnTo>
                  <a:lnTo>
                    <a:pt x="1087" y="275"/>
                  </a:lnTo>
                  <a:lnTo>
                    <a:pt x="1082" y="279"/>
                  </a:lnTo>
                  <a:lnTo>
                    <a:pt x="1078" y="283"/>
                  </a:lnTo>
                  <a:lnTo>
                    <a:pt x="1070" y="292"/>
                  </a:lnTo>
                  <a:lnTo>
                    <a:pt x="1062" y="301"/>
                  </a:lnTo>
                  <a:lnTo>
                    <a:pt x="1056" y="310"/>
                  </a:lnTo>
                  <a:lnTo>
                    <a:pt x="1053" y="315"/>
                  </a:lnTo>
                  <a:lnTo>
                    <a:pt x="1050" y="320"/>
                  </a:lnTo>
                  <a:lnTo>
                    <a:pt x="1044" y="331"/>
                  </a:lnTo>
                  <a:lnTo>
                    <a:pt x="1042" y="336"/>
                  </a:lnTo>
                  <a:lnTo>
                    <a:pt x="1040" y="341"/>
                  </a:lnTo>
                  <a:lnTo>
                    <a:pt x="1038" y="347"/>
                  </a:lnTo>
                  <a:lnTo>
                    <a:pt x="1036" y="352"/>
                  </a:lnTo>
                  <a:lnTo>
                    <a:pt x="1033" y="364"/>
                  </a:lnTo>
                  <a:lnTo>
                    <a:pt x="1031" y="375"/>
                  </a:lnTo>
                  <a:lnTo>
                    <a:pt x="1030" y="387"/>
                  </a:lnTo>
                  <a:lnTo>
                    <a:pt x="1029" y="396"/>
                  </a:lnTo>
                  <a:lnTo>
                    <a:pt x="1029" y="405"/>
                  </a:lnTo>
                  <a:lnTo>
                    <a:pt x="1030" y="413"/>
                  </a:lnTo>
                  <a:lnTo>
                    <a:pt x="1031" y="422"/>
                  </a:lnTo>
                  <a:lnTo>
                    <a:pt x="1032" y="430"/>
                  </a:lnTo>
                  <a:lnTo>
                    <a:pt x="1034" y="439"/>
                  </a:lnTo>
                  <a:lnTo>
                    <a:pt x="1037" y="447"/>
                  </a:lnTo>
                  <a:lnTo>
                    <a:pt x="1040" y="455"/>
                  </a:lnTo>
                  <a:lnTo>
                    <a:pt x="1043" y="464"/>
                  </a:lnTo>
                  <a:lnTo>
                    <a:pt x="1047" y="471"/>
                  </a:lnTo>
                  <a:lnTo>
                    <a:pt x="1051" y="479"/>
                  </a:lnTo>
                  <a:lnTo>
                    <a:pt x="1055" y="486"/>
                  </a:lnTo>
                  <a:lnTo>
                    <a:pt x="1060" y="493"/>
                  </a:lnTo>
                  <a:lnTo>
                    <a:pt x="1065" y="500"/>
                  </a:lnTo>
                  <a:lnTo>
                    <a:pt x="1070" y="507"/>
                  </a:lnTo>
                  <a:lnTo>
                    <a:pt x="1076" y="513"/>
                  </a:lnTo>
                  <a:lnTo>
                    <a:pt x="1082" y="519"/>
                  </a:lnTo>
                  <a:lnTo>
                    <a:pt x="1089" y="525"/>
                  </a:lnTo>
                  <a:lnTo>
                    <a:pt x="1103" y="536"/>
                  </a:lnTo>
                  <a:lnTo>
                    <a:pt x="1110" y="541"/>
                  </a:lnTo>
                  <a:lnTo>
                    <a:pt x="1118" y="546"/>
                  </a:lnTo>
                  <a:lnTo>
                    <a:pt x="1134" y="554"/>
                  </a:lnTo>
                  <a:lnTo>
                    <a:pt x="1142" y="558"/>
                  </a:lnTo>
                  <a:lnTo>
                    <a:pt x="1151" y="561"/>
                  </a:lnTo>
                  <a:lnTo>
                    <a:pt x="1159" y="564"/>
                  </a:lnTo>
                  <a:lnTo>
                    <a:pt x="1168" y="567"/>
                  </a:lnTo>
                  <a:lnTo>
                    <a:pt x="1178" y="569"/>
                  </a:lnTo>
                  <a:lnTo>
                    <a:pt x="1187" y="571"/>
                  </a:lnTo>
                  <a:lnTo>
                    <a:pt x="1196" y="572"/>
                  </a:lnTo>
                  <a:lnTo>
                    <a:pt x="1206" y="573"/>
                  </a:lnTo>
                  <a:lnTo>
                    <a:pt x="1221" y="573"/>
                  </a:lnTo>
                  <a:lnTo>
                    <a:pt x="1239" y="573"/>
                  </a:lnTo>
                  <a:lnTo>
                    <a:pt x="1248" y="572"/>
                  </a:lnTo>
                  <a:lnTo>
                    <a:pt x="1257" y="570"/>
                  </a:lnTo>
                  <a:lnTo>
                    <a:pt x="1274" y="566"/>
                  </a:lnTo>
                  <a:lnTo>
                    <a:pt x="1290" y="561"/>
                  </a:lnTo>
                  <a:lnTo>
                    <a:pt x="1306" y="555"/>
                  </a:lnTo>
                  <a:lnTo>
                    <a:pt x="1314" y="551"/>
                  </a:lnTo>
                  <a:lnTo>
                    <a:pt x="1321" y="547"/>
                  </a:lnTo>
                  <a:lnTo>
                    <a:pt x="1328" y="542"/>
                  </a:lnTo>
                  <a:lnTo>
                    <a:pt x="1335" y="538"/>
                  </a:lnTo>
                  <a:lnTo>
                    <a:pt x="1342" y="533"/>
                  </a:lnTo>
                  <a:lnTo>
                    <a:pt x="1348" y="527"/>
                  </a:lnTo>
                  <a:lnTo>
                    <a:pt x="1354" y="522"/>
                  </a:lnTo>
                  <a:lnTo>
                    <a:pt x="1360" y="516"/>
                  </a:lnTo>
                  <a:lnTo>
                    <a:pt x="1366" y="510"/>
                  </a:lnTo>
                  <a:lnTo>
                    <a:pt x="1371" y="504"/>
                  </a:lnTo>
                  <a:lnTo>
                    <a:pt x="1376" y="498"/>
                  </a:lnTo>
                  <a:lnTo>
                    <a:pt x="1381" y="491"/>
                  </a:lnTo>
                  <a:lnTo>
                    <a:pt x="1385" y="484"/>
                  </a:lnTo>
                  <a:lnTo>
                    <a:pt x="1389" y="477"/>
                  </a:lnTo>
                  <a:lnTo>
                    <a:pt x="1393" y="470"/>
                  </a:lnTo>
                  <a:lnTo>
                    <a:pt x="1396" y="462"/>
                  </a:lnTo>
                  <a:lnTo>
                    <a:pt x="1401" y="446"/>
                  </a:lnTo>
                  <a:lnTo>
                    <a:pt x="1403" y="438"/>
                  </a:lnTo>
                  <a:lnTo>
                    <a:pt x="1405" y="430"/>
                  </a:lnTo>
                  <a:lnTo>
                    <a:pt x="1406" y="422"/>
                  </a:lnTo>
                  <a:lnTo>
                    <a:pt x="1407" y="414"/>
                  </a:lnTo>
                  <a:lnTo>
                    <a:pt x="1407" y="404"/>
                  </a:lnTo>
                  <a:lnTo>
                    <a:pt x="1407" y="395"/>
                  </a:lnTo>
                  <a:lnTo>
                    <a:pt x="1406" y="386"/>
                  </a:lnTo>
                  <a:lnTo>
                    <a:pt x="1405" y="377"/>
                  </a:lnTo>
                  <a:lnTo>
                    <a:pt x="1404" y="368"/>
                  </a:lnTo>
                  <a:lnTo>
                    <a:pt x="1401" y="360"/>
                  </a:lnTo>
                  <a:lnTo>
                    <a:pt x="1399" y="351"/>
                  </a:lnTo>
                  <a:lnTo>
                    <a:pt x="1395" y="342"/>
                  </a:lnTo>
                  <a:lnTo>
                    <a:pt x="1392" y="334"/>
                  </a:lnTo>
                  <a:lnTo>
                    <a:pt x="1388" y="326"/>
                  </a:lnTo>
                  <a:lnTo>
                    <a:pt x="1383" y="318"/>
                  </a:lnTo>
                  <a:lnTo>
                    <a:pt x="1378" y="310"/>
                  </a:lnTo>
                  <a:lnTo>
                    <a:pt x="1372" y="303"/>
                  </a:lnTo>
                  <a:lnTo>
                    <a:pt x="1366" y="295"/>
                  </a:lnTo>
                  <a:lnTo>
                    <a:pt x="1360" y="288"/>
                  </a:lnTo>
                  <a:lnTo>
                    <a:pt x="1353" y="281"/>
                  </a:lnTo>
                  <a:lnTo>
                    <a:pt x="1352" y="280"/>
                  </a:lnTo>
                  <a:lnTo>
                    <a:pt x="1351" y="278"/>
                  </a:lnTo>
                  <a:lnTo>
                    <a:pt x="1350" y="276"/>
                  </a:lnTo>
                  <a:lnTo>
                    <a:pt x="1350" y="274"/>
                  </a:lnTo>
                  <a:lnTo>
                    <a:pt x="1350" y="270"/>
                  </a:lnTo>
                  <a:lnTo>
                    <a:pt x="1353" y="266"/>
                  </a:lnTo>
                  <a:lnTo>
                    <a:pt x="1357" y="262"/>
                  </a:lnTo>
                  <a:lnTo>
                    <a:pt x="1362" y="257"/>
                  </a:lnTo>
                  <a:lnTo>
                    <a:pt x="1367" y="253"/>
                  </a:lnTo>
                  <a:lnTo>
                    <a:pt x="1372" y="249"/>
                  </a:lnTo>
                  <a:lnTo>
                    <a:pt x="1383" y="242"/>
                  </a:lnTo>
                  <a:lnTo>
                    <a:pt x="1388" y="239"/>
                  </a:lnTo>
                  <a:lnTo>
                    <a:pt x="1394" y="236"/>
                  </a:lnTo>
                  <a:lnTo>
                    <a:pt x="1400" y="234"/>
                  </a:lnTo>
                  <a:lnTo>
                    <a:pt x="1406" y="232"/>
                  </a:lnTo>
                  <a:lnTo>
                    <a:pt x="1412" y="230"/>
                  </a:lnTo>
                  <a:lnTo>
                    <a:pt x="1418" y="228"/>
                  </a:lnTo>
                  <a:lnTo>
                    <a:pt x="1424" y="227"/>
                  </a:lnTo>
                  <a:lnTo>
                    <a:pt x="1431" y="226"/>
                  </a:lnTo>
                  <a:lnTo>
                    <a:pt x="1444" y="226"/>
                  </a:lnTo>
                  <a:lnTo>
                    <a:pt x="1452" y="226"/>
                  </a:lnTo>
                  <a:lnTo>
                    <a:pt x="1460" y="227"/>
                  </a:lnTo>
                  <a:lnTo>
                    <a:pt x="1468" y="228"/>
                  </a:lnTo>
                  <a:lnTo>
                    <a:pt x="1476" y="230"/>
                  </a:lnTo>
                  <a:lnTo>
                    <a:pt x="1483" y="232"/>
                  </a:lnTo>
                  <a:lnTo>
                    <a:pt x="1491" y="235"/>
                  </a:lnTo>
                  <a:lnTo>
                    <a:pt x="1498" y="238"/>
                  </a:lnTo>
                  <a:lnTo>
                    <a:pt x="1505" y="242"/>
                  </a:lnTo>
                  <a:lnTo>
                    <a:pt x="1512" y="246"/>
                  </a:lnTo>
                  <a:lnTo>
                    <a:pt x="1518" y="251"/>
                  </a:lnTo>
                  <a:lnTo>
                    <a:pt x="1525" y="256"/>
                  </a:lnTo>
                  <a:lnTo>
                    <a:pt x="1530" y="261"/>
                  </a:lnTo>
                  <a:lnTo>
                    <a:pt x="1536" y="267"/>
                  </a:lnTo>
                  <a:lnTo>
                    <a:pt x="1541" y="273"/>
                  </a:lnTo>
                  <a:lnTo>
                    <a:pt x="1546" y="280"/>
                  </a:lnTo>
                  <a:lnTo>
                    <a:pt x="1550" y="287"/>
                  </a:lnTo>
                  <a:lnTo>
                    <a:pt x="1560" y="275"/>
                  </a:lnTo>
                  <a:lnTo>
                    <a:pt x="1574" y="259"/>
                  </a:lnTo>
                  <a:lnTo>
                    <a:pt x="1582" y="250"/>
                  </a:lnTo>
                  <a:lnTo>
                    <a:pt x="1591" y="241"/>
                  </a:lnTo>
                  <a:lnTo>
                    <a:pt x="1602" y="232"/>
                  </a:lnTo>
                  <a:lnTo>
                    <a:pt x="1613" y="223"/>
                  </a:lnTo>
                  <a:lnTo>
                    <a:pt x="1625" y="214"/>
                  </a:lnTo>
                  <a:lnTo>
                    <a:pt x="1638" y="205"/>
                  </a:lnTo>
                  <a:lnTo>
                    <a:pt x="1651" y="198"/>
                  </a:lnTo>
                  <a:lnTo>
                    <a:pt x="1666" y="191"/>
                  </a:lnTo>
                  <a:lnTo>
                    <a:pt x="1673" y="188"/>
                  </a:lnTo>
                  <a:lnTo>
                    <a:pt x="1681" y="186"/>
                  </a:lnTo>
                  <a:lnTo>
                    <a:pt x="1688" y="183"/>
                  </a:lnTo>
                  <a:lnTo>
                    <a:pt x="1696" y="181"/>
                  </a:lnTo>
                  <a:lnTo>
                    <a:pt x="1704" y="180"/>
                  </a:lnTo>
                  <a:lnTo>
                    <a:pt x="1712" y="179"/>
                  </a:lnTo>
                  <a:lnTo>
                    <a:pt x="1720" y="178"/>
                  </a:lnTo>
                  <a:lnTo>
                    <a:pt x="1729" y="178"/>
                  </a:lnTo>
                  <a:close/>
                  <a:moveTo>
                    <a:pt x="1450" y="807"/>
                  </a:moveTo>
                  <a:lnTo>
                    <a:pt x="1453" y="807"/>
                  </a:lnTo>
                  <a:lnTo>
                    <a:pt x="1455" y="808"/>
                  </a:lnTo>
                  <a:lnTo>
                    <a:pt x="1457" y="810"/>
                  </a:lnTo>
                  <a:lnTo>
                    <a:pt x="1458" y="812"/>
                  </a:lnTo>
                  <a:lnTo>
                    <a:pt x="1459" y="814"/>
                  </a:lnTo>
                  <a:lnTo>
                    <a:pt x="1460" y="816"/>
                  </a:lnTo>
                  <a:lnTo>
                    <a:pt x="1460" y="819"/>
                  </a:lnTo>
                  <a:lnTo>
                    <a:pt x="1459" y="821"/>
                  </a:lnTo>
                  <a:lnTo>
                    <a:pt x="1439" y="885"/>
                  </a:lnTo>
                  <a:lnTo>
                    <a:pt x="1438" y="886"/>
                  </a:lnTo>
                  <a:lnTo>
                    <a:pt x="1437" y="888"/>
                  </a:lnTo>
                  <a:lnTo>
                    <a:pt x="1435" y="890"/>
                  </a:lnTo>
                  <a:lnTo>
                    <a:pt x="1432" y="892"/>
                  </a:lnTo>
                  <a:lnTo>
                    <a:pt x="1428" y="892"/>
                  </a:lnTo>
                  <a:lnTo>
                    <a:pt x="1374" y="887"/>
                  </a:lnTo>
                  <a:lnTo>
                    <a:pt x="1313" y="881"/>
                  </a:lnTo>
                  <a:lnTo>
                    <a:pt x="1245" y="876"/>
                  </a:lnTo>
                  <a:lnTo>
                    <a:pt x="1174" y="871"/>
                  </a:lnTo>
                  <a:lnTo>
                    <a:pt x="1099" y="867"/>
                  </a:lnTo>
                  <a:lnTo>
                    <a:pt x="1023" y="863"/>
                  </a:lnTo>
                  <a:lnTo>
                    <a:pt x="984" y="862"/>
                  </a:lnTo>
                  <a:lnTo>
                    <a:pt x="946" y="861"/>
                  </a:lnTo>
                  <a:lnTo>
                    <a:pt x="871" y="861"/>
                  </a:lnTo>
                  <a:lnTo>
                    <a:pt x="795" y="861"/>
                  </a:lnTo>
                  <a:lnTo>
                    <a:pt x="718" y="863"/>
                  </a:lnTo>
                  <a:lnTo>
                    <a:pt x="641" y="867"/>
                  </a:lnTo>
                  <a:lnTo>
                    <a:pt x="567" y="871"/>
                  </a:lnTo>
                  <a:lnTo>
                    <a:pt x="495" y="876"/>
                  </a:lnTo>
                  <a:lnTo>
                    <a:pt x="428" y="881"/>
                  </a:lnTo>
                  <a:lnTo>
                    <a:pt x="367" y="887"/>
                  </a:lnTo>
                  <a:lnTo>
                    <a:pt x="313" y="892"/>
                  </a:lnTo>
                  <a:lnTo>
                    <a:pt x="309" y="892"/>
                  </a:lnTo>
                  <a:lnTo>
                    <a:pt x="307" y="891"/>
                  </a:lnTo>
                  <a:lnTo>
                    <a:pt x="306" y="890"/>
                  </a:lnTo>
                  <a:lnTo>
                    <a:pt x="303" y="888"/>
                  </a:lnTo>
                  <a:lnTo>
                    <a:pt x="302" y="885"/>
                  </a:lnTo>
                  <a:lnTo>
                    <a:pt x="292" y="854"/>
                  </a:lnTo>
                  <a:lnTo>
                    <a:pt x="281" y="821"/>
                  </a:lnTo>
                  <a:lnTo>
                    <a:pt x="280" y="819"/>
                  </a:lnTo>
                  <a:lnTo>
                    <a:pt x="280" y="816"/>
                  </a:lnTo>
                  <a:lnTo>
                    <a:pt x="282" y="812"/>
                  </a:lnTo>
                  <a:lnTo>
                    <a:pt x="283" y="810"/>
                  </a:lnTo>
                  <a:lnTo>
                    <a:pt x="285" y="808"/>
                  </a:lnTo>
                  <a:lnTo>
                    <a:pt x="287" y="807"/>
                  </a:lnTo>
                  <a:lnTo>
                    <a:pt x="290" y="807"/>
                  </a:lnTo>
                  <a:lnTo>
                    <a:pt x="292" y="806"/>
                  </a:lnTo>
                  <a:lnTo>
                    <a:pt x="335" y="802"/>
                  </a:lnTo>
                  <a:lnTo>
                    <a:pt x="391" y="796"/>
                  </a:lnTo>
                  <a:lnTo>
                    <a:pt x="457" y="790"/>
                  </a:lnTo>
                  <a:lnTo>
                    <a:pt x="531" y="785"/>
                  </a:lnTo>
                  <a:lnTo>
                    <a:pt x="611" y="780"/>
                  </a:lnTo>
                  <a:lnTo>
                    <a:pt x="653" y="778"/>
                  </a:lnTo>
                  <a:lnTo>
                    <a:pt x="696" y="776"/>
                  </a:lnTo>
                  <a:lnTo>
                    <a:pt x="740" y="774"/>
                  </a:lnTo>
                  <a:lnTo>
                    <a:pt x="783" y="773"/>
                  </a:lnTo>
                  <a:lnTo>
                    <a:pt x="827" y="772"/>
                  </a:lnTo>
                  <a:lnTo>
                    <a:pt x="871" y="772"/>
                  </a:lnTo>
                  <a:lnTo>
                    <a:pt x="914" y="772"/>
                  </a:lnTo>
                  <a:lnTo>
                    <a:pt x="958" y="773"/>
                  </a:lnTo>
                  <a:lnTo>
                    <a:pt x="1001" y="774"/>
                  </a:lnTo>
                  <a:lnTo>
                    <a:pt x="1045" y="776"/>
                  </a:lnTo>
                  <a:lnTo>
                    <a:pt x="1129" y="780"/>
                  </a:lnTo>
                  <a:lnTo>
                    <a:pt x="1209" y="785"/>
                  </a:lnTo>
                  <a:lnTo>
                    <a:pt x="1283" y="790"/>
                  </a:lnTo>
                  <a:lnTo>
                    <a:pt x="1349" y="796"/>
                  </a:lnTo>
                  <a:lnTo>
                    <a:pt x="1405" y="802"/>
                  </a:lnTo>
                  <a:lnTo>
                    <a:pt x="1449" y="806"/>
                  </a:lnTo>
                  <a:lnTo>
                    <a:pt x="1450" y="807"/>
                  </a:lnTo>
                  <a:close/>
                </a:path>
              </a:pathLst>
            </a:custGeom>
            <a:solidFill>
              <a:srgbClr val="FD9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Freeform 7"/>
            <p:cNvSpPr>
              <a:spLocks noEditPoints="1"/>
            </p:cNvSpPr>
            <p:nvPr userDrawn="1"/>
          </p:nvSpPr>
          <p:spPr bwMode="auto">
            <a:xfrm>
              <a:off x="4287838" y="2951163"/>
              <a:ext cx="6440488" cy="1217612"/>
            </a:xfrm>
            <a:custGeom>
              <a:avLst/>
              <a:gdLst>
                <a:gd name="T0" fmla="*/ 3533 w 4057"/>
                <a:gd name="T1" fmla="*/ 11 h 767"/>
                <a:gd name="T2" fmla="*/ 3620 w 4057"/>
                <a:gd name="T3" fmla="*/ 37 h 767"/>
                <a:gd name="T4" fmla="*/ 4033 w 4057"/>
                <a:gd name="T5" fmla="*/ 15 h 767"/>
                <a:gd name="T6" fmla="*/ 4055 w 4057"/>
                <a:gd name="T7" fmla="*/ 724 h 767"/>
                <a:gd name="T8" fmla="*/ 4042 w 4057"/>
                <a:gd name="T9" fmla="*/ 755 h 767"/>
                <a:gd name="T10" fmla="*/ 3620 w 4057"/>
                <a:gd name="T11" fmla="*/ 736 h 767"/>
                <a:gd name="T12" fmla="*/ 3528 w 4057"/>
                <a:gd name="T13" fmla="*/ 756 h 767"/>
                <a:gd name="T14" fmla="*/ 330 w 4057"/>
                <a:gd name="T15" fmla="*/ 10 h 767"/>
                <a:gd name="T16" fmla="*/ 367 w 4057"/>
                <a:gd name="T17" fmla="*/ 4 h 767"/>
                <a:gd name="T18" fmla="*/ 693 w 4057"/>
                <a:gd name="T19" fmla="*/ 754 h 767"/>
                <a:gd name="T20" fmla="*/ 593 w 4057"/>
                <a:gd name="T21" fmla="*/ 744 h 767"/>
                <a:gd name="T22" fmla="*/ 21 w 4057"/>
                <a:gd name="T23" fmla="*/ 757 h 767"/>
                <a:gd name="T24" fmla="*/ 2 w 4057"/>
                <a:gd name="T25" fmla="*/ 729 h 767"/>
                <a:gd name="T26" fmla="*/ 827 w 4057"/>
                <a:gd name="T27" fmla="*/ 13 h 767"/>
                <a:gd name="T28" fmla="*/ 1180 w 4057"/>
                <a:gd name="T29" fmla="*/ 34 h 767"/>
                <a:gd name="T30" fmla="*/ 1281 w 4057"/>
                <a:gd name="T31" fmla="*/ 125 h 767"/>
                <a:gd name="T32" fmla="*/ 1315 w 4057"/>
                <a:gd name="T33" fmla="*/ 258 h 767"/>
                <a:gd name="T34" fmla="*/ 1268 w 4057"/>
                <a:gd name="T35" fmla="*/ 390 h 767"/>
                <a:gd name="T36" fmla="*/ 1159 w 4057"/>
                <a:gd name="T37" fmla="*/ 472 h 767"/>
                <a:gd name="T38" fmla="*/ 920 w 4057"/>
                <a:gd name="T39" fmla="*/ 747 h 767"/>
                <a:gd name="T40" fmla="*/ 816 w 4057"/>
                <a:gd name="T41" fmla="*/ 744 h 767"/>
                <a:gd name="T42" fmla="*/ 1135 w 4057"/>
                <a:gd name="T43" fmla="*/ 366 h 767"/>
                <a:gd name="T44" fmla="*/ 1203 w 4057"/>
                <a:gd name="T45" fmla="*/ 273 h 767"/>
                <a:gd name="T46" fmla="*/ 1189 w 4057"/>
                <a:gd name="T47" fmla="*/ 183 h 767"/>
                <a:gd name="T48" fmla="*/ 1098 w 4057"/>
                <a:gd name="T49" fmla="*/ 120 h 767"/>
                <a:gd name="T50" fmla="*/ 1899 w 4057"/>
                <a:gd name="T51" fmla="*/ 15 h 767"/>
                <a:gd name="T52" fmla="*/ 2058 w 4057"/>
                <a:gd name="T53" fmla="*/ 106 h 767"/>
                <a:gd name="T54" fmla="*/ 2153 w 4057"/>
                <a:gd name="T55" fmla="*/ 252 h 767"/>
                <a:gd name="T56" fmla="*/ 2169 w 4057"/>
                <a:gd name="T57" fmla="*/ 463 h 767"/>
                <a:gd name="T58" fmla="*/ 2089 w 4057"/>
                <a:gd name="T59" fmla="*/ 629 h 767"/>
                <a:gd name="T60" fmla="*/ 1960 w 4057"/>
                <a:gd name="T61" fmla="*/ 730 h 767"/>
                <a:gd name="T62" fmla="*/ 1773 w 4057"/>
                <a:gd name="T63" fmla="*/ 767 h 767"/>
                <a:gd name="T64" fmla="*/ 1578 w 4057"/>
                <a:gd name="T65" fmla="*/ 702 h 767"/>
                <a:gd name="T66" fmla="*/ 1466 w 4057"/>
                <a:gd name="T67" fmla="*/ 584 h 767"/>
                <a:gd name="T68" fmla="*/ 1411 w 4057"/>
                <a:gd name="T69" fmla="*/ 405 h 767"/>
                <a:gd name="T70" fmla="*/ 1448 w 4057"/>
                <a:gd name="T71" fmla="*/ 218 h 767"/>
                <a:gd name="T72" fmla="*/ 1563 w 4057"/>
                <a:gd name="T73" fmla="*/ 76 h 767"/>
                <a:gd name="T74" fmla="*/ 1725 w 4057"/>
                <a:gd name="T75" fmla="*/ 6 h 767"/>
                <a:gd name="T76" fmla="*/ 1888 w 4057"/>
                <a:gd name="T77" fmla="*/ 644 h 767"/>
                <a:gd name="T78" fmla="*/ 2007 w 4057"/>
                <a:gd name="T79" fmla="*/ 561 h 767"/>
                <a:gd name="T80" fmla="*/ 2069 w 4057"/>
                <a:gd name="T81" fmla="*/ 413 h 767"/>
                <a:gd name="T82" fmla="*/ 2037 w 4057"/>
                <a:gd name="T83" fmla="*/ 253 h 767"/>
                <a:gd name="T84" fmla="*/ 1925 w 4057"/>
                <a:gd name="T85" fmla="*/ 141 h 767"/>
                <a:gd name="T86" fmla="*/ 1765 w 4057"/>
                <a:gd name="T87" fmla="*/ 108 h 767"/>
                <a:gd name="T88" fmla="*/ 1618 w 4057"/>
                <a:gd name="T89" fmla="*/ 171 h 767"/>
                <a:gd name="T90" fmla="*/ 1530 w 4057"/>
                <a:gd name="T91" fmla="*/ 304 h 767"/>
                <a:gd name="T92" fmla="*/ 1530 w 4057"/>
                <a:gd name="T93" fmla="*/ 467 h 767"/>
                <a:gd name="T94" fmla="*/ 1618 w 4057"/>
                <a:gd name="T95" fmla="*/ 598 h 767"/>
                <a:gd name="T96" fmla="*/ 1765 w 4057"/>
                <a:gd name="T97" fmla="*/ 659 h 767"/>
                <a:gd name="T98" fmla="*/ 2214 w 4057"/>
                <a:gd name="T99" fmla="*/ 91 h 767"/>
                <a:gd name="T100" fmla="*/ 2736 w 4057"/>
                <a:gd name="T101" fmla="*/ 13 h 767"/>
                <a:gd name="T102" fmla="*/ 2739 w 4057"/>
                <a:gd name="T103" fmla="*/ 107 h 767"/>
                <a:gd name="T104" fmla="*/ 2520 w 4057"/>
                <a:gd name="T105" fmla="*/ 756 h 767"/>
                <a:gd name="T106" fmla="*/ 2885 w 4057"/>
                <a:gd name="T107" fmla="*/ 31 h 767"/>
                <a:gd name="T108" fmla="*/ 3343 w 4057"/>
                <a:gd name="T109" fmla="*/ 15 h 767"/>
                <a:gd name="T110" fmla="*/ 3340 w 4057"/>
                <a:gd name="T111" fmla="*/ 109 h 767"/>
                <a:gd name="T112" fmla="*/ 3298 w 4057"/>
                <a:gd name="T113" fmla="*/ 345 h 767"/>
                <a:gd name="T114" fmla="*/ 2994 w 4057"/>
                <a:gd name="T115" fmla="*/ 658 h 767"/>
                <a:gd name="T116" fmla="*/ 3350 w 4057"/>
                <a:gd name="T117" fmla="*/ 744 h 767"/>
                <a:gd name="T118" fmla="*/ 2888 w 4057"/>
                <a:gd name="T119" fmla="*/ 747 h 7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057" h="767">
                  <a:moveTo>
                    <a:pt x="3508" y="37"/>
                  </a:moveTo>
                  <a:lnTo>
                    <a:pt x="3508" y="31"/>
                  </a:lnTo>
                  <a:lnTo>
                    <a:pt x="3509" y="29"/>
                  </a:lnTo>
                  <a:lnTo>
                    <a:pt x="3509" y="27"/>
                  </a:lnTo>
                  <a:lnTo>
                    <a:pt x="3510" y="25"/>
                  </a:lnTo>
                  <a:lnTo>
                    <a:pt x="3512" y="22"/>
                  </a:lnTo>
                  <a:lnTo>
                    <a:pt x="3515" y="19"/>
                  </a:lnTo>
                  <a:lnTo>
                    <a:pt x="3518" y="15"/>
                  </a:lnTo>
                  <a:lnTo>
                    <a:pt x="3523" y="13"/>
                  </a:lnTo>
                  <a:lnTo>
                    <a:pt x="3525" y="12"/>
                  </a:lnTo>
                  <a:lnTo>
                    <a:pt x="3528" y="12"/>
                  </a:lnTo>
                  <a:lnTo>
                    <a:pt x="3533" y="11"/>
                  </a:lnTo>
                  <a:lnTo>
                    <a:pt x="3595" y="11"/>
                  </a:lnTo>
                  <a:lnTo>
                    <a:pt x="3600" y="12"/>
                  </a:lnTo>
                  <a:lnTo>
                    <a:pt x="3602" y="12"/>
                  </a:lnTo>
                  <a:lnTo>
                    <a:pt x="3605" y="13"/>
                  </a:lnTo>
                  <a:lnTo>
                    <a:pt x="3609" y="15"/>
                  </a:lnTo>
                  <a:lnTo>
                    <a:pt x="3611" y="17"/>
                  </a:lnTo>
                  <a:lnTo>
                    <a:pt x="3613" y="19"/>
                  </a:lnTo>
                  <a:lnTo>
                    <a:pt x="3616" y="22"/>
                  </a:lnTo>
                  <a:lnTo>
                    <a:pt x="3618" y="27"/>
                  </a:lnTo>
                  <a:lnTo>
                    <a:pt x="3619" y="29"/>
                  </a:lnTo>
                  <a:lnTo>
                    <a:pt x="3620" y="31"/>
                  </a:lnTo>
                  <a:lnTo>
                    <a:pt x="3620" y="37"/>
                  </a:lnTo>
                  <a:lnTo>
                    <a:pt x="3620" y="332"/>
                  </a:lnTo>
                  <a:lnTo>
                    <a:pt x="3920" y="22"/>
                  </a:lnTo>
                  <a:lnTo>
                    <a:pt x="3924" y="18"/>
                  </a:lnTo>
                  <a:lnTo>
                    <a:pt x="3929" y="14"/>
                  </a:lnTo>
                  <a:lnTo>
                    <a:pt x="3934" y="12"/>
                  </a:lnTo>
                  <a:lnTo>
                    <a:pt x="3937" y="11"/>
                  </a:lnTo>
                  <a:lnTo>
                    <a:pt x="3940" y="11"/>
                  </a:lnTo>
                  <a:lnTo>
                    <a:pt x="4020" y="11"/>
                  </a:lnTo>
                  <a:lnTo>
                    <a:pt x="4024" y="11"/>
                  </a:lnTo>
                  <a:lnTo>
                    <a:pt x="4027" y="12"/>
                  </a:lnTo>
                  <a:lnTo>
                    <a:pt x="4030" y="13"/>
                  </a:lnTo>
                  <a:lnTo>
                    <a:pt x="4033" y="15"/>
                  </a:lnTo>
                  <a:lnTo>
                    <a:pt x="4035" y="17"/>
                  </a:lnTo>
                  <a:lnTo>
                    <a:pt x="4037" y="19"/>
                  </a:lnTo>
                  <a:lnTo>
                    <a:pt x="4040" y="24"/>
                  </a:lnTo>
                  <a:lnTo>
                    <a:pt x="4042" y="30"/>
                  </a:lnTo>
                  <a:lnTo>
                    <a:pt x="4042" y="33"/>
                  </a:lnTo>
                  <a:lnTo>
                    <a:pt x="4042" y="37"/>
                  </a:lnTo>
                  <a:lnTo>
                    <a:pt x="4039" y="43"/>
                  </a:lnTo>
                  <a:lnTo>
                    <a:pt x="4038" y="46"/>
                  </a:lnTo>
                  <a:lnTo>
                    <a:pt x="4035" y="49"/>
                  </a:lnTo>
                  <a:lnTo>
                    <a:pt x="3728" y="363"/>
                  </a:lnTo>
                  <a:lnTo>
                    <a:pt x="4053" y="721"/>
                  </a:lnTo>
                  <a:lnTo>
                    <a:pt x="4055" y="724"/>
                  </a:lnTo>
                  <a:lnTo>
                    <a:pt x="4056" y="726"/>
                  </a:lnTo>
                  <a:lnTo>
                    <a:pt x="4057" y="731"/>
                  </a:lnTo>
                  <a:lnTo>
                    <a:pt x="4057" y="734"/>
                  </a:lnTo>
                  <a:lnTo>
                    <a:pt x="4057" y="737"/>
                  </a:lnTo>
                  <a:lnTo>
                    <a:pt x="4056" y="740"/>
                  </a:lnTo>
                  <a:lnTo>
                    <a:pt x="4055" y="743"/>
                  </a:lnTo>
                  <a:lnTo>
                    <a:pt x="4054" y="746"/>
                  </a:lnTo>
                  <a:lnTo>
                    <a:pt x="4052" y="748"/>
                  </a:lnTo>
                  <a:lnTo>
                    <a:pt x="4050" y="750"/>
                  </a:lnTo>
                  <a:lnTo>
                    <a:pt x="4048" y="752"/>
                  </a:lnTo>
                  <a:lnTo>
                    <a:pt x="4045" y="754"/>
                  </a:lnTo>
                  <a:lnTo>
                    <a:pt x="4042" y="755"/>
                  </a:lnTo>
                  <a:lnTo>
                    <a:pt x="4038" y="756"/>
                  </a:lnTo>
                  <a:lnTo>
                    <a:pt x="4034" y="756"/>
                  </a:lnTo>
                  <a:lnTo>
                    <a:pt x="3949" y="756"/>
                  </a:lnTo>
                  <a:lnTo>
                    <a:pt x="3945" y="756"/>
                  </a:lnTo>
                  <a:lnTo>
                    <a:pt x="3942" y="756"/>
                  </a:lnTo>
                  <a:lnTo>
                    <a:pt x="3936" y="754"/>
                  </a:lnTo>
                  <a:lnTo>
                    <a:pt x="3934" y="753"/>
                  </a:lnTo>
                  <a:lnTo>
                    <a:pt x="3932" y="752"/>
                  </a:lnTo>
                  <a:lnTo>
                    <a:pt x="3930" y="749"/>
                  </a:lnTo>
                  <a:lnTo>
                    <a:pt x="3620" y="400"/>
                  </a:lnTo>
                  <a:lnTo>
                    <a:pt x="3620" y="731"/>
                  </a:lnTo>
                  <a:lnTo>
                    <a:pt x="3620" y="736"/>
                  </a:lnTo>
                  <a:lnTo>
                    <a:pt x="3619" y="738"/>
                  </a:lnTo>
                  <a:lnTo>
                    <a:pt x="3618" y="741"/>
                  </a:lnTo>
                  <a:lnTo>
                    <a:pt x="3616" y="745"/>
                  </a:lnTo>
                  <a:lnTo>
                    <a:pt x="3614" y="747"/>
                  </a:lnTo>
                  <a:lnTo>
                    <a:pt x="3613" y="749"/>
                  </a:lnTo>
                  <a:lnTo>
                    <a:pt x="3609" y="752"/>
                  </a:lnTo>
                  <a:lnTo>
                    <a:pt x="3605" y="754"/>
                  </a:lnTo>
                  <a:lnTo>
                    <a:pt x="3602" y="755"/>
                  </a:lnTo>
                  <a:lnTo>
                    <a:pt x="3600" y="756"/>
                  </a:lnTo>
                  <a:lnTo>
                    <a:pt x="3595" y="756"/>
                  </a:lnTo>
                  <a:lnTo>
                    <a:pt x="3533" y="756"/>
                  </a:lnTo>
                  <a:lnTo>
                    <a:pt x="3528" y="756"/>
                  </a:lnTo>
                  <a:lnTo>
                    <a:pt x="3523" y="754"/>
                  </a:lnTo>
                  <a:lnTo>
                    <a:pt x="3518" y="752"/>
                  </a:lnTo>
                  <a:lnTo>
                    <a:pt x="3515" y="749"/>
                  </a:lnTo>
                  <a:lnTo>
                    <a:pt x="3512" y="745"/>
                  </a:lnTo>
                  <a:lnTo>
                    <a:pt x="3510" y="743"/>
                  </a:lnTo>
                  <a:lnTo>
                    <a:pt x="3509" y="741"/>
                  </a:lnTo>
                  <a:lnTo>
                    <a:pt x="3508" y="736"/>
                  </a:lnTo>
                  <a:lnTo>
                    <a:pt x="3508" y="731"/>
                  </a:lnTo>
                  <a:lnTo>
                    <a:pt x="3508" y="37"/>
                  </a:lnTo>
                  <a:close/>
                  <a:moveTo>
                    <a:pt x="2" y="729"/>
                  </a:moveTo>
                  <a:lnTo>
                    <a:pt x="329" y="12"/>
                  </a:lnTo>
                  <a:lnTo>
                    <a:pt x="330" y="10"/>
                  </a:lnTo>
                  <a:lnTo>
                    <a:pt x="332" y="8"/>
                  </a:lnTo>
                  <a:lnTo>
                    <a:pt x="335" y="6"/>
                  </a:lnTo>
                  <a:lnTo>
                    <a:pt x="337" y="4"/>
                  </a:lnTo>
                  <a:lnTo>
                    <a:pt x="340" y="2"/>
                  </a:lnTo>
                  <a:lnTo>
                    <a:pt x="342" y="1"/>
                  </a:lnTo>
                  <a:lnTo>
                    <a:pt x="345" y="1"/>
                  </a:lnTo>
                  <a:lnTo>
                    <a:pt x="347" y="0"/>
                  </a:lnTo>
                  <a:lnTo>
                    <a:pt x="358" y="0"/>
                  </a:lnTo>
                  <a:lnTo>
                    <a:pt x="360" y="1"/>
                  </a:lnTo>
                  <a:lnTo>
                    <a:pt x="362" y="1"/>
                  </a:lnTo>
                  <a:lnTo>
                    <a:pt x="365" y="2"/>
                  </a:lnTo>
                  <a:lnTo>
                    <a:pt x="367" y="4"/>
                  </a:lnTo>
                  <a:lnTo>
                    <a:pt x="370" y="6"/>
                  </a:lnTo>
                  <a:lnTo>
                    <a:pt x="372" y="8"/>
                  </a:lnTo>
                  <a:lnTo>
                    <a:pt x="376" y="12"/>
                  </a:lnTo>
                  <a:lnTo>
                    <a:pt x="701" y="729"/>
                  </a:lnTo>
                  <a:lnTo>
                    <a:pt x="703" y="734"/>
                  </a:lnTo>
                  <a:lnTo>
                    <a:pt x="703" y="739"/>
                  </a:lnTo>
                  <a:lnTo>
                    <a:pt x="702" y="744"/>
                  </a:lnTo>
                  <a:lnTo>
                    <a:pt x="702" y="746"/>
                  </a:lnTo>
                  <a:lnTo>
                    <a:pt x="700" y="748"/>
                  </a:lnTo>
                  <a:lnTo>
                    <a:pt x="699" y="750"/>
                  </a:lnTo>
                  <a:lnTo>
                    <a:pt x="697" y="751"/>
                  </a:lnTo>
                  <a:lnTo>
                    <a:pt x="693" y="754"/>
                  </a:lnTo>
                  <a:lnTo>
                    <a:pt x="689" y="756"/>
                  </a:lnTo>
                  <a:lnTo>
                    <a:pt x="686" y="756"/>
                  </a:lnTo>
                  <a:lnTo>
                    <a:pt x="683" y="757"/>
                  </a:lnTo>
                  <a:lnTo>
                    <a:pt x="616" y="757"/>
                  </a:lnTo>
                  <a:lnTo>
                    <a:pt x="611" y="756"/>
                  </a:lnTo>
                  <a:lnTo>
                    <a:pt x="607" y="755"/>
                  </a:lnTo>
                  <a:lnTo>
                    <a:pt x="606" y="755"/>
                  </a:lnTo>
                  <a:lnTo>
                    <a:pt x="604" y="754"/>
                  </a:lnTo>
                  <a:lnTo>
                    <a:pt x="601" y="752"/>
                  </a:lnTo>
                  <a:lnTo>
                    <a:pt x="598" y="750"/>
                  </a:lnTo>
                  <a:lnTo>
                    <a:pt x="595" y="747"/>
                  </a:lnTo>
                  <a:lnTo>
                    <a:pt x="593" y="744"/>
                  </a:lnTo>
                  <a:lnTo>
                    <a:pt x="592" y="741"/>
                  </a:lnTo>
                  <a:lnTo>
                    <a:pt x="526" y="595"/>
                  </a:lnTo>
                  <a:lnTo>
                    <a:pt x="177" y="595"/>
                  </a:lnTo>
                  <a:lnTo>
                    <a:pt x="144" y="668"/>
                  </a:lnTo>
                  <a:lnTo>
                    <a:pt x="112" y="741"/>
                  </a:lnTo>
                  <a:lnTo>
                    <a:pt x="109" y="746"/>
                  </a:lnTo>
                  <a:lnTo>
                    <a:pt x="103" y="751"/>
                  </a:lnTo>
                  <a:lnTo>
                    <a:pt x="100" y="753"/>
                  </a:lnTo>
                  <a:lnTo>
                    <a:pt x="96" y="755"/>
                  </a:lnTo>
                  <a:lnTo>
                    <a:pt x="92" y="756"/>
                  </a:lnTo>
                  <a:lnTo>
                    <a:pt x="88" y="757"/>
                  </a:lnTo>
                  <a:lnTo>
                    <a:pt x="21" y="757"/>
                  </a:lnTo>
                  <a:lnTo>
                    <a:pt x="15" y="756"/>
                  </a:lnTo>
                  <a:lnTo>
                    <a:pt x="10" y="754"/>
                  </a:lnTo>
                  <a:lnTo>
                    <a:pt x="6" y="751"/>
                  </a:lnTo>
                  <a:lnTo>
                    <a:pt x="4" y="750"/>
                  </a:lnTo>
                  <a:lnTo>
                    <a:pt x="3" y="748"/>
                  </a:lnTo>
                  <a:lnTo>
                    <a:pt x="1" y="744"/>
                  </a:lnTo>
                  <a:lnTo>
                    <a:pt x="1" y="741"/>
                  </a:lnTo>
                  <a:lnTo>
                    <a:pt x="0" y="739"/>
                  </a:lnTo>
                  <a:lnTo>
                    <a:pt x="0" y="737"/>
                  </a:lnTo>
                  <a:lnTo>
                    <a:pt x="1" y="734"/>
                  </a:lnTo>
                  <a:lnTo>
                    <a:pt x="1" y="731"/>
                  </a:lnTo>
                  <a:lnTo>
                    <a:pt x="2" y="729"/>
                  </a:lnTo>
                  <a:close/>
                  <a:moveTo>
                    <a:pt x="485" y="503"/>
                  </a:moveTo>
                  <a:lnTo>
                    <a:pt x="353" y="211"/>
                  </a:lnTo>
                  <a:lnTo>
                    <a:pt x="348" y="211"/>
                  </a:lnTo>
                  <a:lnTo>
                    <a:pt x="218" y="503"/>
                  </a:lnTo>
                  <a:lnTo>
                    <a:pt x="485" y="503"/>
                  </a:lnTo>
                  <a:close/>
                  <a:moveTo>
                    <a:pt x="814" y="31"/>
                  </a:moveTo>
                  <a:lnTo>
                    <a:pt x="815" y="27"/>
                  </a:lnTo>
                  <a:lnTo>
                    <a:pt x="816" y="24"/>
                  </a:lnTo>
                  <a:lnTo>
                    <a:pt x="818" y="20"/>
                  </a:lnTo>
                  <a:lnTo>
                    <a:pt x="820" y="17"/>
                  </a:lnTo>
                  <a:lnTo>
                    <a:pt x="823" y="15"/>
                  </a:lnTo>
                  <a:lnTo>
                    <a:pt x="827" y="13"/>
                  </a:lnTo>
                  <a:lnTo>
                    <a:pt x="830" y="11"/>
                  </a:lnTo>
                  <a:lnTo>
                    <a:pt x="835" y="11"/>
                  </a:lnTo>
                  <a:lnTo>
                    <a:pt x="1077" y="11"/>
                  </a:lnTo>
                  <a:lnTo>
                    <a:pt x="1089" y="11"/>
                  </a:lnTo>
                  <a:lnTo>
                    <a:pt x="1101" y="12"/>
                  </a:lnTo>
                  <a:lnTo>
                    <a:pt x="1113" y="14"/>
                  </a:lnTo>
                  <a:lnTo>
                    <a:pt x="1125" y="16"/>
                  </a:lnTo>
                  <a:lnTo>
                    <a:pt x="1136" y="19"/>
                  </a:lnTo>
                  <a:lnTo>
                    <a:pt x="1148" y="22"/>
                  </a:lnTo>
                  <a:lnTo>
                    <a:pt x="1159" y="25"/>
                  </a:lnTo>
                  <a:lnTo>
                    <a:pt x="1170" y="30"/>
                  </a:lnTo>
                  <a:lnTo>
                    <a:pt x="1180" y="34"/>
                  </a:lnTo>
                  <a:lnTo>
                    <a:pt x="1190" y="40"/>
                  </a:lnTo>
                  <a:lnTo>
                    <a:pt x="1200" y="45"/>
                  </a:lnTo>
                  <a:lnTo>
                    <a:pt x="1210" y="51"/>
                  </a:lnTo>
                  <a:lnTo>
                    <a:pt x="1219" y="58"/>
                  </a:lnTo>
                  <a:lnTo>
                    <a:pt x="1228" y="65"/>
                  </a:lnTo>
                  <a:lnTo>
                    <a:pt x="1237" y="72"/>
                  </a:lnTo>
                  <a:lnTo>
                    <a:pt x="1245" y="80"/>
                  </a:lnTo>
                  <a:lnTo>
                    <a:pt x="1253" y="88"/>
                  </a:lnTo>
                  <a:lnTo>
                    <a:pt x="1261" y="97"/>
                  </a:lnTo>
                  <a:lnTo>
                    <a:pt x="1268" y="106"/>
                  </a:lnTo>
                  <a:lnTo>
                    <a:pt x="1275" y="115"/>
                  </a:lnTo>
                  <a:lnTo>
                    <a:pt x="1281" y="125"/>
                  </a:lnTo>
                  <a:lnTo>
                    <a:pt x="1286" y="135"/>
                  </a:lnTo>
                  <a:lnTo>
                    <a:pt x="1292" y="145"/>
                  </a:lnTo>
                  <a:lnTo>
                    <a:pt x="1297" y="155"/>
                  </a:lnTo>
                  <a:lnTo>
                    <a:pt x="1301" y="166"/>
                  </a:lnTo>
                  <a:lnTo>
                    <a:pt x="1305" y="177"/>
                  </a:lnTo>
                  <a:lnTo>
                    <a:pt x="1308" y="188"/>
                  </a:lnTo>
                  <a:lnTo>
                    <a:pt x="1311" y="199"/>
                  </a:lnTo>
                  <a:lnTo>
                    <a:pt x="1313" y="211"/>
                  </a:lnTo>
                  <a:lnTo>
                    <a:pt x="1314" y="222"/>
                  </a:lnTo>
                  <a:lnTo>
                    <a:pt x="1315" y="234"/>
                  </a:lnTo>
                  <a:lnTo>
                    <a:pt x="1315" y="246"/>
                  </a:lnTo>
                  <a:lnTo>
                    <a:pt x="1315" y="258"/>
                  </a:lnTo>
                  <a:lnTo>
                    <a:pt x="1314" y="270"/>
                  </a:lnTo>
                  <a:lnTo>
                    <a:pt x="1313" y="282"/>
                  </a:lnTo>
                  <a:lnTo>
                    <a:pt x="1311" y="294"/>
                  </a:lnTo>
                  <a:lnTo>
                    <a:pt x="1308" y="307"/>
                  </a:lnTo>
                  <a:lnTo>
                    <a:pt x="1305" y="318"/>
                  </a:lnTo>
                  <a:lnTo>
                    <a:pt x="1301" y="329"/>
                  </a:lnTo>
                  <a:lnTo>
                    <a:pt x="1297" y="340"/>
                  </a:lnTo>
                  <a:lnTo>
                    <a:pt x="1292" y="351"/>
                  </a:lnTo>
                  <a:lnTo>
                    <a:pt x="1287" y="361"/>
                  </a:lnTo>
                  <a:lnTo>
                    <a:pt x="1281" y="371"/>
                  </a:lnTo>
                  <a:lnTo>
                    <a:pt x="1275" y="381"/>
                  </a:lnTo>
                  <a:lnTo>
                    <a:pt x="1268" y="390"/>
                  </a:lnTo>
                  <a:lnTo>
                    <a:pt x="1261" y="399"/>
                  </a:lnTo>
                  <a:lnTo>
                    <a:pt x="1253" y="408"/>
                  </a:lnTo>
                  <a:lnTo>
                    <a:pt x="1245" y="416"/>
                  </a:lnTo>
                  <a:lnTo>
                    <a:pt x="1237" y="424"/>
                  </a:lnTo>
                  <a:lnTo>
                    <a:pt x="1229" y="432"/>
                  </a:lnTo>
                  <a:lnTo>
                    <a:pt x="1220" y="439"/>
                  </a:lnTo>
                  <a:lnTo>
                    <a:pt x="1210" y="445"/>
                  </a:lnTo>
                  <a:lnTo>
                    <a:pt x="1201" y="452"/>
                  </a:lnTo>
                  <a:lnTo>
                    <a:pt x="1191" y="457"/>
                  </a:lnTo>
                  <a:lnTo>
                    <a:pt x="1180" y="463"/>
                  </a:lnTo>
                  <a:lnTo>
                    <a:pt x="1170" y="468"/>
                  </a:lnTo>
                  <a:lnTo>
                    <a:pt x="1159" y="472"/>
                  </a:lnTo>
                  <a:lnTo>
                    <a:pt x="1148" y="476"/>
                  </a:lnTo>
                  <a:lnTo>
                    <a:pt x="1137" y="479"/>
                  </a:lnTo>
                  <a:lnTo>
                    <a:pt x="1126" y="481"/>
                  </a:lnTo>
                  <a:lnTo>
                    <a:pt x="1114" y="484"/>
                  </a:lnTo>
                  <a:lnTo>
                    <a:pt x="1102" y="485"/>
                  </a:lnTo>
                  <a:lnTo>
                    <a:pt x="1090" y="486"/>
                  </a:lnTo>
                  <a:lnTo>
                    <a:pt x="1078" y="486"/>
                  </a:lnTo>
                  <a:lnTo>
                    <a:pt x="924" y="486"/>
                  </a:lnTo>
                  <a:lnTo>
                    <a:pt x="924" y="736"/>
                  </a:lnTo>
                  <a:lnTo>
                    <a:pt x="924" y="740"/>
                  </a:lnTo>
                  <a:lnTo>
                    <a:pt x="922" y="744"/>
                  </a:lnTo>
                  <a:lnTo>
                    <a:pt x="920" y="747"/>
                  </a:lnTo>
                  <a:lnTo>
                    <a:pt x="918" y="750"/>
                  </a:lnTo>
                  <a:lnTo>
                    <a:pt x="915" y="753"/>
                  </a:lnTo>
                  <a:lnTo>
                    <a:pt x="911" y="755"/>
                  </a:lnTo>
                  <a:lnTo>
                    <a:pt x="908" y="756"/>
                  </a:lnTo>
                  <a:lnTo>
                    <a:pt x="904" y="756"/>
                  </a:lnTo>
                  <a:lnTo>
                    <a:pt x="835" y="756"/>
                  </a:lnTo>
                  <a:lnTo>
                    <a:pt x="830" y="756"/>
                  </a:lnTo>
                  <a:lnTo>
                    <a:pt x="827" y="755"/>
                  </a:lnTo>
                  <a:lnTo>
                    <a:pt x="823" y="753"/>
                  </a:lnTo>
                  <a:lnTo>
                    <a:pt x="820" y="750"/>
                  </a:lnTo>
                  <a:lnTo>
                    <a:pt x="818" y="747"/>
                  </a:lnTo>
                  <a:lnTo>
                    <a:pt x="816" y="744"/>
                  </a:lnTo>
                  <a:lnTo>
                    <a:pt x="815" y="740"/>
                  </a:lnTo>
                  <a:lnTo>
                    <a:pt x="814" y="736"/>
                  </a:lnTo>
                  <a:lnTo>
                    <a:pt x="814" y="31"/>
                  </a:lnTo>
                  <a:close/>
                  <a:moveTo>
                    <a:pt x="1071" y="382"/>
                  </a:moveTo>
                  <a:lnTo>
                    <a:pt x="1078" y="382"/>
                  </a:lnTo>
                  <a:lnTo>
                    <a:pt x="1084" y="381"/>
                  </a:lnTo>
                  <a:lnTo>
                    <a:pt x="1098" y="379"/>
                  </a:lnTo>
                  <a:lnTo>
                    <a:pt x="1110" y="376"/>
                  </a:lnTo>
                  <a:lnTo>
                    <a:pt x="1117" y="374"/>
                  </a:lnTo>
                  <a:lnTo>
                    <a:pt x="1123" y="372"/>
                  </a:lnTo>
                  <a:lnTo>
                    <a:pt x="1129" y="369"/>
                  </a:lnTo>
                  <a:lnTo>
                    <a:pt x="1135" y="366"/>
                  </a:lnTo>
                  <a:lnTo>
                    <a:pt x="1146" y="359"/>
                  </a:lnTo>
                  <a:lnTo>
                    <a:pt x="1156" y="351"/>
                  </a:lnTo>
                  <a:lnTo>
                    <a:pt x="1166" y="343"/>
                  </a:lnTo>
                  <a:lnTo>
                    <a:pt x="1175" y="333"/>
                  </a:lnTo>
                  <a:lnTo>
                    <a:pt x="1179" y="328"/>
                  </a:lnTo>
                  <a:lnTo>
                    <a:pt x="1182" y="323"/>
                  </a:lnTo>
                  <a:lnTo>
                    <a:pt x="1186" y="317"/>
                  </a:lnTo>
                  <a:lnTo>
                    <a:pt x="1189" y="312"/>
                  </a:lnTo>
                  <a:lnTo>
                    <a:pt x="1195" y="299"/>
                  </a:lnTo>
                  <a:lnTo>
                    <a:pt x="1198" y="292"/>
                  </a:lnTo>
                  <a:lnTo>
                    <a:pt x="1200" y="286"/>
                  </a:lnTo>
                  <a:lnTo>
                    <a:pt x="1203" y="273"/>
                  </a:lnTo>
                  <a:lnTo>
                    <a:pt x="1204" y="266"/>
                  </a:lnTo>
                  <a:lnTo>
                    <a:pt x="1205" y="263"/>
                  </a:lnTo>
                  <a:lnTo>
                    <a:pt x="1205" y="259"/>
                  </a:lnTo>
                  <a:lnTo>
                    <a:pt x="1206" y="252"/>
                  </a:lnTo>
                  <a:lnTo>
                    <a:pt x="1206" y="245"/>
                  </a:lnTo>
                  <a:lnTo>
                    <a:pt x="1206" y="238"/>
                  </a:lnTo>
                  <a:lnTo>
                    <a:pt x="1205" y="232"/>
                  </a:lnTo>
                  <a:lnTo>
                    <a:pt x="1203" y="219"/>
                  </a:lnTo>
                  <a:lnTo>
                    <a:pt x="1202" y="213"/>
                  </a:lnTo>
                  <a:lnTo>
                    <a:pt x="1200" y="206"/>
                  </a:lnTo>
                  <a:lnTo>
                    <a:pt x="1195" y="195"/>
                  </a:lnTo>
                  <a:lnTo>
                    <a:pt x="1189" y="183"/>
                  </a:lnTo>
                  <a:lnTo>
                    <a:pt x="1182" y="173"/>
                  </a:lnTo>
                  <a:lnTo>
                    <a:pt x="1179" y="168"/>
                  </a:lnTo>
                  <a:lnTo>
                    <a:pt x="1175" y="163"/>
                  </a:lnTo>
                  <a:lnTo>
                    <a:pt x="1170" y="158"/>
                  </a:lnTo>
                  <a:lnTo>
                    <a:pt x="1166" y="154"/>
                  </a:lnTo>
                  <a:lnTo>
                    <a:pt x="1156" y="146"/>
                  </a:lnTo>
                  <a:lnTo>
                    <a:pt x="1146" y="139"/>
                  </a:lnTo>
                  <a:lnTo>
                    <a:pt x="1135" y="132"/>
                  </a:lnTo>
                  <a:lnTo>
                    <a:pt x="1129" y="130"/>
                  </a:lnTo>
                  <a:lnTo>
                    <a:pt x="1123" y="127"/>
                  </a:lnTo>
                  <a:lnTo>
                    <a:pt x="1110" y="123"/>
                  </a:lnTo>
                  <a:lnTo>
                    <a:pt x="1098" y="120"/>
                  </a:lnTo>
                  <a:lnTo>
                    <a:pt x="1084" y="118"/>
                  </a:lnTo>
                  <a:lnTo>
                    <a:pt x="1071" y="117"/>
                  </a:lnTo>
                  <a:lnTo>
                    <a:pt x="924" y="117"/>
                  </a:lnTo>
                  <a:lnTo>
                    <a:pt x="924" y="382"/>
                  </a:lnTo>
                  <a:lnTo>
                    <a:pt x="1071" y="382"/>
                  </a:lnTo>
                  <a:close/>
                  <a:moveTo>
                    <a:pt x="1793" y="0"/>
                  </a:moveTo>
                  <a:lnTo>
                    <a:pt x="1812" y="1"/>
                  </a:lnTo>
                  <a:lnTo>
                    <a:pt x="1832" y="2"/>
                  </a:lnTo>
                  <a:lnTo>
                    <a:pt x="1851" y="5"/>
                  </a:lnTo>
                  <a:lnTo>
                    <a:pt x="1871" y="8"/>
                  </a:lnTo>
                  <a:lnTo>
                    <a:pt x="1890" y="12"/>
                  </a:lnTo>
                  <a:lnTo>
                    <a:pt x="1899" y="15"/>
                  </a:lnTo>
                  <a:lnTo>
                    <a:pt x="1908" y="18"/>
                  </a:lnTo>
                  <a:lnTo>
                    <a:pt x="1917" y="20"/>
                  </a:lnTo>
                  <a:lnTo>
                    <a:pt x="1926" y="24"/>
                  </a:lnTo>
                  <a:lnTo>
                    <a:pt x="1943" y="30"/>
                  </a:lnTo>
                  <a:lnTo>
                    <a:pt x="1960" y="38"/>
                  </a:lnTo>
                  <a:lnTo>
                    <a:pt x="1977" y="47"/>
                  </a:lnTo>
                  <a:lnTo>
                    <a:pt x="1993" y="56"/>
                  </a:lnTo>
                  <a:lnTo>
                    <a:pt x="2008" y="66"/>
                  </a:lnTo>
                  <a:lnTo>
                    <a:pt x="2023" y="76"/>
                  </a:lnTo>
                  <a:lnTo>
                    <a:pt x="2038" y="88"/>
                  </a:lnTo>
                  <a:lnTo>
                    <a:pt x="2052" y="100"/>
                  </a:lnTo>
                  <a:lnTo>
                    <a:pt x="2058" y="106"/>
                  </a:lnTo>
                  <a:lnTo>
                    <a:pt x="2065" y="113"/>
                  </a:lnTo>
                  <a:lnTo>
                    <a:pt x="2077" y="126"/>
                  </a:lnTo>
                  <a:lnTo>
                    <a:pt x="2089" y="140"/>
                  </a:lnTo>
                  <a:lnTo>
                    <a:pt x="2095" y="147"/>
                  </a:lnTo>
                  <a:lnTo>
                    <a:pt x="2101" y="154"/>
                  </a:lnTo>
                  <a:lnTo>
                    <a:pt x="2111" y="169"/>
                  </a:lnTo>
                  <a:lnTo>
                    <a:pt x="2121" y="185"/>
                  </a:lnTo>
                  <a:lnTo>
                    <a:pt x="2131" y="201"/>
                  </a:lnTo>
                  <a:lnTo>
                    <a:pt x="2139" y="218"/>
                  </a:lnTo>
                  <a:lnTo>
                    <a:pt x="2147" y="235"/>
                  </a:lnTo>
                  <a:lnTo>
                    <a:pt x="2150" y="243"/>
                  </a:lnTo>
                  <a:lnTo>
                    <a:pt x="2153" y="252"/>
                  </a:lnTo>
                  <a:lnTo>
                    <a:pt x="2159" y="270"/>
                  </a:lnTo>
                  <a:lnTo>
                    <a:pt x="2165" y="288"/>
                  </a:lnTo>
                  <a:lnTo>
                    <a:pt x="2169" y="308"/>
                  </a:lnTo>
                  <a:lnTo>
                    <a:pt x="2171" y="317"/>
                  </a:lnTo>
                  <a:lnTo>
                    <a:pt x="2172" y="327"/>
                  </a:lnTo>
                  <a:lnTo>
                    <a:pt x="2175" y="346"/>
                  </a:lnTo>
                  <a:lnTo>
                    <a:pt x="2176" y="366"/>
                  </a:lnTo>
                  <a:lnTo>
                    <a:pt x="2177" y="385"/>
                  </a:lnTo>
                  <a:lnTo>
                    <a:pt x="2176" y="405"/>
                  </a:lnTo>
                  <a:lnTo>
                    <a:pt x="2175" y="425"/>
                  </a:lnTo>
                  <a:lnTo>
                    <a:pt x="2172" y="444"/>
                  </a:lnTo>
                  <a:lnTo>
                    <a:pt x="2169" y="463"/>
                  </a:lnTo>
                  <a:lnTo>
                    <a:pt x="2165" y="481"/>
                  </a:lnTo>
                  <a:lnTo>
                    <a:pt x="2162" y="491"/>
                  </a:lnTo>
                  <a:lnTo>
                    <a:pt x="2159" y="500"/>
                  </a:lnTo>
                  <a:lnTo>
                    <a:pt x="2157" y="509"/>
                  </a:lnTo>
                  <a:lnTo>
                    <a:pt x="2153" y="517"/>
                  </a:lnTo>
                  <a:lnTo>
                    <a:pt x="2147" y="535"/>
                  </a:lnTo>
                  <a:lnTo>
                    <a:pt x="2139" y="552"/>
                  </a:lnTo>
                  <a:lnTo>
                    <a:pt x="2131" y="568"/>
                  </a:lnTo>
                  <a:lnTo>
                    <a:pt x="2121" y="584"/>
                  </a:lnTo>
                  <a:lnTo>
                    <a:pt x="2111" y="600"/>
                  </a:lnTo>
                  <a:lnTo>
                    <a:pt x="2101" y="615"/>
                  </a:lnTo>
                  <a:lnTo>
                    <a:pt x="2089" y="629"/>
                  </a:lnTo>
                  <a:lnTo>
                    <a:pt x="2077" y="643"/>
                  </a:lnTo>
                  <a:lnTo>
                    <a:pt x="2071" y="649"/>
                  </a:lnTo>
                  <a:lnTo>
                    <a:pt x="2065" y="656"/>
                  </a:lnTo>
                  <a:lnTo>
                    <a:pt x="2052" y="669"/>
                  </a:lnTo>
                  <a:lnTo>
                    <a:pt x="2038" y="681"/>
                  </a:lnTo>
                  <a:lnTo>
                    <a:pt x="2031" y="686"/>
                  </a:lnTo>
                  <a:lnTo>
                    <a:pt x="2023" y="692"/>
                  </a:lnTo>
                  <a:lnTo>
                    <a:pt x="2008" y="702"/>
                  </a:lnTo>
                  <a:lnTo>
                    <a:pt x="2001" y="707"/>
                  </a:lnTo>
                  <a:lnTo>
                    <a:pt x="1993" y="712"/>
                  </a:lnTo>
                  <a:lnTo>
                    <a:pt x="1977" y="721"/>
                  </a:lnTo>
                  <a:lnTo>
                    <a:pt x="1960" y="730"/>
                  </a:lnTo>
                  <a:lnTo>
                    <a:pt x="1952" y="734"/>
                  </a:lnTo>
                  <a:lnTo>
                    <a:pt x="1943" y="737"/>
                  </a:lnTo>
                  <a:lnTo>
                    <a:pt x="1935" y="741"/>
                  </a:lnTo>
                  <a:lnTo>
                    <a:pt x="1926" y="744"/>
                  </a:lnTo>
                  <a:lnTo>
                    <a:pt x="1908" y="750"/>
                  </a:lnTo>
                  <a:lnTo>
                    <a:pt x="1890" y="755"/>
                  </a:lnTo>
                  <a:lnTo>
                    <a:pt x="1871" y="759"/>
                  </a:lnTo>
                  <a:lnTo>
                    <a:pt x="1851" y="763"/>
                  </a:lnTo>
                  <a:lnTo>
                    <a:pt x="1832" y="765"/>
                  </a:lnTo>
                  <a:lnTo>
                    <a:pt x="1812" y="767"/>
                  </a:lnTo>
                  <a:lnTo>
                    <a:pt x="1793" y="767"/>
                  </a:lnTo>
                  <a:lnTo>
                    <a:pt x="1773" y="767"/>
                  </a:lnTo>
                  <a:lnTo>
                    <a:pt x="1753" y="765"/>
                  </a:lnTo>
                  <a:lnTo>
                    <a:pt x="1734" y="763"/>
                  </a:lnTo>
                  <a:lnTo>
                    <a:pt x="1715" y="759"/>
                  </a:lnTo>
                  <a:lnTo>
                    <a:pt x="1697" y="755"/>
                  </a:lnTo>
                  <a:lnTo>
                    <a:pt x="1678" y="750"/>
                  </a:lnTo>
                  <a:lnTo>
                    <a:pt x="1669" y="747"/>
                  </a:lnTo>
                  <a:lnTo>
                    <a:pt x="1661" y="744"/>
                  </a:lnTo>
                  <a:lnTo>
                    <a:pt x="1643" y="737"/>
                  </a:lnTo>
                  <a:lnTo>
                    <a:pt x="1626" y="730"/>
                  </a:lnTo>
                  <a:lnTo>
                    <a:pt x="1610" y="721"/>
                  </a:lnTo>
                  <a:lnTo>
                    <a:pt x="1594" y="712"/>
                  </a:lnTo>
                  <a:lnTo>
                    <a:pt x="1578" y="702"/>
                  </a:lnTo>
                  <a:lnTo>
                    <a:pt x="1563" y="692"/>
                  </a:lnTo>
                  <a:lnTo>
                    <a:pt x="1549" y="681"/>
                  </a:lnTo>
                  <a:lnTo>
                    <a:pt x="1542" y="675"/>
                  </a:lnTo>
                  <a:lnTo>
                    <a:pt x="1535" y="669"/>
                  </a:lnTo>
                  <a:lnTo>
                    <a:pt x="1522" y="656"/>
                  </a:lnTo>
                  <a:lnTo>
                    <a:pt x="1509" y="643"/>
                  </a:lnTo>
                  <a:lnTo>
                    <a:pt x="1497" y="629"/>
                  </a:lnTo>
                  <a:lnTo>
                    <a:pt x="1492" y="622"/>
                  </a:lnTo>
                  <a:lnTo>
                    <a:pt x="1486" y="615"/>
                  </a:lnTo>
                  <a:lnTo>
                    <a:pt x="1476" y="600"/>
                  </a:lnTo>
                  <a:lnTo>
                    <a:pt x="1471" y="592"/>
                  </a:lnTo>
                  <a:lnTo>
                    <a:pt x="1466" y="584"/>
                  </a:lnTo>
                  <a:lnTo>
                    <a:pt x="1457" y="568"/>
                  </a:lnTo>
                  <a:lnTo>
                    <a:pt x="1448" y="552"/>
                  </a:lnTo>
                  <a:lnTo>
                    <a:pt x="1444" y="543"/>
                  </a:lnTo>
                  <a:lnTo>
                    <a:pt x="1441" y="535"/>
                  </a:lnTo>
                  <a:lnTo>
                    <a:pt x="1437" y="526"/>
                  </a:lnTo>
                  <a:lnTo>
                    <a:pt x="1434" y="517"/>
                  </a:lnTo>
                  <a:lnTo>
                    <a:pt x="1428" y="500"/>
                  </a:lnTo>
                  <a:lnTo>
                    <a:pt x="1423" y="481"/>
                  </a:lnTo>
                  <a:lnTo>
                    <a:pt x="1419" y="463"/>
                  </a:lnTo>
                  <a:lnTo>
                    <a:pt x="1415" y="444"/>
                  </a:lnTo>
                  <a:lnTo>
                    <a:pt x="1413" y="425"/>
                  </a:lnTo>
                  <a:lnTo>
                    <a:pt x="1411" y="405"/>
                  </a:lnTo>
                  <a:lnTo>
                    <a:pt x="1411" y="385"/>
                  </a:lnTo>
                  <a:lnTo>
                    <a:pt x="1411" y="366"/>
                  </a:lnTo>
                  <a:lnTo>
                    <a:pt x="1413" y="346"/>
                  </a:lnTo>
                  <a:lnTo>
                    <a:pt x="1415" y="327"/>
                  </a:lnTo>
                  <a:lnTo>
                    <a:pt x="1419" y="308"/>
                  </a:lnTo>
                  <a:lnTo>
                    <a:pt x="1423" y="288"/>
                  </a:lnTo>
                  <a:lnTo>
                    <a:pt x="1428" y="270"/>
                  </a:lnTo>
                  <a:lnTo>
                    <a:pt x="1431" y="261"/>
                  </a:lnTo>
                  <a:lnTo>
                    <a:pt x="1434" y="252"/>
                  </a:lnTo>
                  <a:lnTo>
                    <a:pt x="1437" y="243"/>
                  </a:lnTo>
                  <a:lnTo>
                    <a:pt x="1441" y="235"/>
                  </a:lnTo>
                  <a:lnTo>
                    <a:pt x="1448" y="218"/>
                  </a:lnTo>
                  <a:lnTo>
                    <a:pt x="1457" y="201"/>
                  </a:lnTo>
                  <a:lnTo>
                    <a:pt x="1466" y="185"/>
                  </a:lnTo>
                  <a:lnTo>
                    <a:pt x="1476" y="169"/>
                  </a:lnTo>
                  <a:lnTo>
                    <a:pt x="1486" y="154"/>
                  </a:lnTo>
                  <a:lnTo>
                    <a:pt x="1497" y="140"/>
                  </a:lnTo>
                  <a:lnTo>
                    <a:pt x="1503" y="133"/>
                  </a:lnTo>
                  <a:lnTo>
                    <a:pt x="1509" y="126"/>
                  </a:lnTo>
                  <a:lnTo>
                    <a:pt x="1522" y="113"/>
                  </a:lnTo>
                  <a:lnTo>
                    <a:pt x="1535" y="100"/>
                  </a:lnTo>
                  <a:lnTo>
                    <a:pt x="1542" y="94"/>
                  </a:lnTo>
                  <a:lnTo>
                    <a:pt x="1549" y="88"/>
                  </a:lnTo>
                  <a:lnTo>
                    <a:pt x="1563" y="76"/>
                  </a:lnTo>
                  <a:lnTo>
                    <a:pt x="1578" y="66"/>
                  </a:lnTo>
                  <a:lnTo>
                    <a:pt x="1594" y="56"/>
                  </a:lnTo>
                  <a:lnTo>
                    <a:pt x="1610" y="47"/>
                  </a:lnTo>
                  <a:lnTo>
                    <a:pt x="1626" y="38"/>
                  </a:lnTo>
                  <a:lnTo>
                    <a:pt x="1643" y="30"/>
                  </a:lnTo>
                  <a:lnTo>
                    <a:pt x="1652" y="27"/>
                  </a:lnTo>
                  <a:lnTo>
                    <a:pt x="1661" y="24"/>
                  </a:lnTo>
                  <a:lnTo>
                    <a:pt x="1669" y="20"/>
                  </a:lnTo>
                  <a:lnTo>
                    <a:pt x="1678" y="18"/>
                  </a:lnTo>
                  <a:lnTo>
                    <a:pt x="1697" y="12"/>
                  </a:lnTo>
                  <a:lnTo>
                    <a:pt x="1715" y="8"/>
                  </a:lnTo>
                  <a:lnTo>
                    <a:pt x="1725" y="6"/>
                  </a:lnTo>
                  <a:lnTo>
                    <a:pt x="1734" y="5"/>
                  </a:lnTo>
                  <a:lnTo>
                    <a:pt x="1753" y="2"/>
                  </a:lnTo>
                  <a:lnTo>
                    <a:pt x="1773" y="1"/>
                  </a:lnTo>
                  <a:lnTo>
                    <a:pt x="1793" y="0"/>
                  </a:lnTo>
                  <a:close/>
                  <a:moveTo>
                    <a:pt x="1793" y="661"/>
                  </a:moveTo>
                  <a:lnTo>
                    <a:pt x="1807" y="660"/>
                  </a:lnTo>
                  <a:lnTo>
                    <a:pt x="1821" y="659"/>
                  </a:lnTo>
                  <a:lnTo>
                    <a:pt x="1835" y="658"/>
                  </a:lnTo>
                  <a:lnTo>
                    <a:pt x="1848" y="655"/>
                  </a:lnTo>
                  <a:lnTo>
                    <a:pt x="1862" y="652"/>
                  </a:lnTo>
                  <a:lnTo>
                    <a:pt x="1876" y="648"/>
                  </a:lnTo>
                  <a:lnTo>
                    <a:pt x="1888" y="644"/>
                  </a:lnTo>
                  <a:lnTo>
                    <a:pt x="1901" y="639"/>
                  </a:lnTo>
                  <a:lnTo>
                    <a:pt x="1913" y="634"/>
                  </a:lnTo>
                  <a:lnTo>
                    <a:pt x="1925" y="628"/>
                  </a:lnTo>
                  <a:lnTo>
                    <a:pt x="1931" y="624"/>
                  </a:lnTo>
                  <a:lnTo>
                    <a:pt x="1937" y="621"/>
                  </a:lnTo>
                  <a:lnTo>
                    <a:pt x="1948" y="614"/>
                  </a:lnTo>
                  <a:lnTo>
                    <a:pt x="1959" y="606"/>
                  </a:lnTo>
                  <a:lnTo>
                    <a:pt x="1969" y="598"/>
                  </a:lnTo>
                  <a:lnTo>
                    <a:pt x="1979" y="589"/>
                  </a:lnTo>
                  <a:lnTo>
                    <a:pt x="1989" y="580"/>
                  </a:lnTo>
                  <a:lnTo>
                    <a:pt x="1998" y="571"/>
                  </a:lnTo>
                  <a:lnTo>
                    <a:pt x="2007" y="561"/>
                  </a:lnTo>
                  <a:lnTo>
                    <a:pt x="2015" y="550"/>
                  </a:lnTo>
                  <a:lnTo>
                    <a:pt x="2023" y="539"/>
                  </a:lnTo>
                  <a:lnTo>
                    <a:pt x="2030" y="528"/>
                  </a:lnTo>
                  <a:lnTo>
                    <a:pt x="2037" y="517"/>
                  </a:lnTo>
                  <a:lnTo>
                    <a:pt x="2043" y="505"/>
                  </a:lnTo>
                  <a:lnTo>
                    <a:pt x="2048" y="493"/>
                  </a:lnTo>
                  <a:lnTo>
                    <a:pt x="2053" y="480"/>
                  </a:lnTo>
                  <a:lnTo>
                    <a:pt x="2058" y="467"/>
                  </a:lnTo>
                  <a:lnTo>
                    <a:pt x="2061" y="454"/>
                  </a:lnTo>
                  <a:lnTo>
                    <a:pt x="2065" y="441"/>
                  </a:lnTo>
                  <a:lnTo>
                    <a:pt x="2067" y="427"/>
                  </a:lnTo>
                  <a:lnTo>
                    <a:pt x="2069" y="413"/>
                  </a:lnTo>
                  <a:lnTo>
                    <a:pt x="2070" y="399"/>
                  </a:lnTo>
                  <a:lnTo>
                    <a:pt x="2070" y="385"/>
                  </a:lnTo>
                  <a:lnTo>
                    <a:pt x="2070" y="371"/>
                  </a:lnTo>
                  <a:lnTo>
                    <a:pt x="2069" y="357"/>
                  </a:lnTo>
                  <a:lnTo>
                    <a:pt x="2067" y="344"/>
                  </a:lnTo>
                  <a:lnTo>
                    <a:pt x="2065" y="330"/>
                  </a:lnTo>
                  <a:lnTo>
                    <a:pt x="2061" y="317"/>
                  </a:lnTo>
                  <a:lnTo>
                    <a:pt x="2058" y="304"/>
                  </a:lnTo>
                  <a:lnTo>
                    <a:pt x="2053" y="290"/>
                  </a:lnTo>
                  <a:lnTo>
                    <a:pt x="2048" y="277"/>
                  </a:lnTo>
                  <a:lnTo>
                    <a:pt x="2043" y="265"/>
                  </a:lnTo>
                  <a:lnTo>
                    <a:pt x="2037" y="253"/>
                  </a:lnTo>
                  <a:lnTo>
                    <a:pt x="2030" y="241"/>
                  </a:lnTo>
                  <a:lnTo>
                    <a:pt x="2023" y="230"/>
                  </a:lnTo>
                  <a:lnTo>
                    <a:pt x="2015" y="219"/>
                  </a:lnTo>
                  <a:lnTo>
                    <a:pt x="2007" y="209"/>
                  </a:lnTo>
                  <a:lnTo>
                    <a:pt x="1998" y="199"/>
                  </a:lnTo>
                  <a:lnTo>
                    <a:pt x="1989" y="189"/>
                  </a:lnTo>
                  <a:lnTo>
                    <a:pt x="1979" y="180"/>
                  </a:lnTo>
                  <a:lnTo>
                    <a:pt x="1969" y="171"/>
                  </a:lnTo>
                  <a:lnTo>
                    <a:pt x="1959" y="163"/>
                  </a:lnTo>
                  <a:lnTo>
                    <a:pt x="1948" y="155"/>
                  </a:lnTo>
                  <a:lnTo>
                    <a:pt x="1937" y="147"/>
                  </a:lnTo>
                  <a:lnTo>
                    <a:pt x="1925" y="141"/>
                  </a:lnTo>
                  <a:lnTo>
                    <a:pt x="1913" y="135"/>
                  </a:lnTo>
                  <a:lnTo>
                    <a:pt x="1901" y="129"/>
                  </a:lnTo>
                  <a:lnTo>
                    <a:pt x="1888" y="124"/>
                  </a:lnTo>
                  <a:lnTo>
                    <a:pt x="1876" y="119"/>
                  </a:lnTo>
                  <a:lnTo>
                    <a:pt x="1862" y="116"/>
                  </a:lnTo>
                  <a:lnTo>
                    <a:pt x="1848" y="113"/>
                  </a:lnTo>
                  <a:lnTo>
                    <a:pt x="1835" y="110"/>
                  </a:lnTo>
                  <a:lnTo>
                    <a:pt x="1821" y="108"/>
                  </a:lnTo>
                  <a:lnTo>
                    <a:pt x="1807" y="107"/>
                  </a:lnTo>
                  <a:lnTo>
                    <a:pt x="1793" y="107"/>
                  </a:lnTo>
                  <a:lnTo>
                    <a:pt x="1779" y="107"/>
                  </a:lnTo>
                  <a:lnTo>
                    <a:pt x="1765" y="108"/>
                  </a:lnTo>
                  <a:lnTo>
                    <a:pt x="1751" y="110"/>
                  </a:lnTo>
                  <a:lnTo>
                    <a:pt x="1737" y="113"/>
                  </a:lnTo>
                  <a:lnTo>
                    <a:pt x="1724" y="116"/>
                  </a:lnTo>
                  <a:lnTo>
                    <a:pt x="1711" y="119"/>
                  </a:lnTo>
                  <a:lnTo>
                    <a:pt x="1698" y="124"/>
                  </a:lnTo>
                  <a:lnTo>
                    <a:pt x="1686" y="129"/>
                  </a:lnTo>
                  <a:lnTo>
                    <a:pt x="1674" y="135"/>
                  </a:lnTo>
                  <a:lnTo>
                    <a:pt x="1662" y="141"/>
                  </a:lnTo>
                  <a:lnTo>
                    <a:pt x="1650" y="147"/>
                  </a:lnTo>
                  <a:lnTo>
                    <a:pt x="1639" y="155"/>
                  </a:lnTo>
                  <a:lnTo>
                    <a:pt x="1628" y="163"/>
                  </a:lnTo>
                  <a:lnTo>
                    <a:pt x="1618" y="171"/>
                  </a:lnTo>
                  <a:lnTo>
                    <a:pt x="1608" y="180"/>
                  </a:lnTo>
                  <a:lnTo>
                    <a:pt x="1598" y="189"/>
                  </a:lnTo>
                  <a:lnTo>
                    <a:pt x="1589" y="199"/>
                  </a:lnTo>
                  <a:lnTo>
                    <a:pt x="1580" y="209"/>
                  </a:lnTo>
                  <a:lnTo>
                    <a:pt x="1572" y="219"/>
                  </a:lnTo>
                  <a:lnTo>
                    <a:pt x="1565" y="230"/>
                  </a:lnTo>
                  <a:lnTo>
                    <a:pt x="1557" y="241"/>
                  </a:lnTo>
                  <a:lnTo>
                    <a:pt x="1551" y="253"/>
                  </a:lnTo>
                  <a:lnTo>
                    <a:pt x="1545" y="265"/>
                  </a:lnTo>
                  <a:lnTo>
                    <a:pt x="1539" y="277"/>
                  </a:lnTo>
                  <a:lnTo>
                    <a:pt x="1534" y="290"/>
                  </a:lnTo>
                  <a:lnTo>
                    <a:pt x="1530" y="304"/>
                  </a:lnTo>
                  <a:lnTo>
                    <a:pt x="1526" y="317"/>
                  </a:lnTo>
                  <a:lnTo>
                    <a:pt x="1523" y="330"/>
                  </a:lnTo>
                  <a:lnTo>
                    <a:pt x="1520" y="344"/>
                  </a:lnTo>
                  <a:lnTo>
                    <a:pt x="1519" y="357"/>
                  </a:lnTo>
                  <a:lnTo>
                    <a:pt x="1518" y="371"/>
                  </a:lnTo>
                  <a:lnTo>
                    <a:pt x="1517" y="385"/>
                  </a:lnTo>
                  <a:lnTo>
                    <a:pt x="1518" y="399"/>
                  </a:lnTo>
                  <a:lnTo>
                    <a:pt x="1519" y="413"/>
                  </a:lnTo>
                  <a:lnTo>
                    <a:pt x="1520" y="427"/>
                  </a:lnTo>
                  <a:lnTo>
                    <a:pt x="1523" y="441"/>
                  </a:lnTo>
                  <a:lnTo>
                    <a:pt x="1526" y="454"/>
                  </a:lnTo>
                  <a:lnTo>
                    <a:pt x="1530" y="467"/>
                  </a:lnTo>
                  <a:lnTo>
                    <a:pt x="1534" y="480"/>
                  </a:lnTo>
                  <a:lnTo>
                    <a:pt x="1539" y="493"/>
                  </a:lnTo>
                  <a:lnTo>
                    <a:pt x="1545" y="505"/>
                  </a:lnTo>
                  <a:lnTo>
                    <a:pt x="1551" y="517"/>
                  </a:lnTo>
                  <a:lnTo>
                    <a:pt x="1557" y="528"/>
                  </a:lnTo>
                  <a:lnTo>
                    <a:pt x="1565" y="539"/>
                  </a:lnTo>
                  <a:lnTo>
                    <a:pt x="1572" y="550"/>
                  </a:lnTo>
                  <a:lnTo>
                    <a:pt x="1580" y="561"/>
                  </a:lnTo>
                  <a:lnTo>
                    <a:pt x="1589" y="571"/>
                  </a:lnTo>
                  <a:lnTo>
                    <a:pt x="1598" y="580"/>
                  </a:lnTo>
                  <a:lnTo>
                    <a:pt x="1608" y="589"/>
                  </a:lnTo>
                  <a:lnTo>
                    <a:pt x="1618" y="598"/>
                  </a:lnTo>
                  <a:lnTo>
                    <a:pt x="1628" y="606"/>
                  </a:lnTo>
                  <a:lnTo>
                    <a:pt x="1639" y="614"/>
                  </a:lnTo>
                  <a:lnTo>
                    <a:pt x="1650" y="621"/>
                  </a:lnTo>
                  <a:lnTo>
                    <a:pt x="1662" y="628"/>
                  </a:lnTo>
                  <a:lnTo>
                    <a:pt x="1674" y="634"/>
                  </a:lnTo>
                  <a:lnTo>
                    <a:pt x="1686" y="639"/>
                  </a:lnTo>
                  <a:lnTo>
                    <a:pt x="1698" y="644"/>
                  </a:lnTo>
                  <a:lnTo>
                    <a:pt x="1711" y="648"/>
                  </a:lnTo>
                  <a:lnTo>
                    <a:pt x="1724" y="652"/>
                  </a:lnTo>
                  <a:lnTo>
                    <a:pt x="1737" y="655"/>
                  </a:lnTo>
                  <a:lnTo>
                    <a:pt x="1751" y="658"/>
                  </a:lnTo>
                  <a:lnTo>
                    <a:pt x="1765" y="659"/>
                  </a:lnTo>
                  <a:lnTo>
                    <a:pt x="1779" y="660"/>
                  </a:lnTo>
                  <a:lnTo>
                    <a:pt x="1793" y="661"/>
                  </a:lnTo>
                  <a:close/>
                  <a:moveTo>
                    <a:pt x="2426" y="111"/>
                  </a:moveTo>
                  <a:lnTo>
                    <a:pt x="2235" y="111"/>
                  </a:lnTo>
                  <a:lnTo>
                    <a:pt x="2230" y="111"/>
                  </a:lnTo>
                  <a:lnTo>
                    <a:pt x="2227" y="109"/>
                  </a:lnTo>
                  <a:lnTo>
                    <a:pt x="2223" y="107"/>
                  </a:lnTo>
                  <a:lnTo>
                    <a:pt x="2220" y="105"/>
                  </a:lnTo>
                  <a:lnTo>
                    <a:pt x="2218" y="102"/>
                  </a:lnTo>
                  <a:lnTo>
                    <a:pt x="2216" y="98"/>
                  </a:lnTo>
                  <a:lnTo>
                    <a:pt x="2215" y="95"/>
                  </a:lnTo>
                  <a:lnTo>
                    <a:pt x="2214" y="91"/>
                  </a:lnTo>
                  <a:lnTo>
                    <a:pt x="2214" y="31"/>
                  </a:lnTo>
                  <a:lnTo>
                    <a:pt x="2215" y="27"/>
                  </a:lnTo>
                  <a:lnTo>
                    <a:pt x="2216" y="24"/>
                  </a:lnTo>
                  <a:lnTo>
                    <a:pt x="2218" y="20"/>
                  </a:lnTo>
                  <a:lnTo>
                    <a:pt x="2220" y="17"/>
                  </a:lnTo>
                  <a:lnTo>
                    <a:pt x="2223" y="15"/>
                  </a:lnTo>
                  <a:lnTo>
                    <a:pt x="2227" y="13"/>
                  </a:lnTo>
                  <a:lnTo>
                    <a:pt x="2230" y="11"/>
                  </a:lnTo>
                  <a:lnTo>
                    <a:pt x="2235" y="11"/>
                  </a:lnTo>
                  <a:lnTo>
                    <a:pt x="2727" y="11"/>
                  </a:lnTo>
                  <a:lnTo>
                    <a:pt x="2732" y="11"/>
                  </a:lnTo>
                  <a:lnTo>
                    <a:pt x="2736" y="13"/>
                  </a:lnTo>
                  <a:lnTo>
                    <a:pt x="2739" y="15"/>
                  </a:lnTo>
                  <a:lnTo>
                    <a:pt x="2742" y="17"/>
                  </a:lnTo>
                  <a:lnTo>
                    <a:pt x="2744" y="20"/>
                  </a:lnTo>
                  <a:lnTo>
                    <a:pt x="2746" y="24"/>
                  </a:lnTo>
                  <a:lnTo>
                    <a:pt x="2747" y="27"/>
                  </a:lnTo>
                  <a:lnTo>
                    <a:pt x="2748" y="31"/>
                  </a:lnTo>
                  <a:lnTo>
                    <a:pt x="2748" y="91"/>
                  </a:lnTo>
                  <a:lnTo>
                    <a:pt x="2747" y="95"/>
                  </a:lnTo>
                  <a:lnTo>
                    <a:pt x="2746" y="98"/>
                  </a:lnTo>
                  <a:lnTo>
                    <a:pt x="2744" y="102"/>
                  </a:lnTo>
                  <a:lnTo>
                    <a:pt x="2742" y="105"/>
                  </a:lnTo>
                  <a:lnTo>
                    <a:pt x="2739" y="107"/>
                  </a:lnTo>
                  <a:lnTo>
                    <a:pt x="2736" y="109"/>
                  </a:lnTo>
                  <a:lnTo>
                    <a:pt x="2732" y="111"/>
                  </a:lnTo>
                  <a:lnTo>
                    <a:pt x="2727" y="111"/>
                  </a:lnTo>
                  <a:lnTo>
                    <a:pt x="2536" y="111"/>
                  </a:lnTo>
                  <a:lnTo>
                    <a:pt x="2536" y="736"/>
                  </a:lnTo>
                  <a:lnTo>
                    <a:pt x="2536" y="740"/>
                  </a:lnTo>
                  <a:lnTo>
                    <a:pt x="2535" y="744"/>
                  </a:lnTo>
                  <a:lnTo>
                    <a:pt x="2533" y="747"/>
                  </a:lnTo>
                  <a:lnTo>
                    <a:pt x="2530" y="750"/>
                  </a:lnTo>
                  <a:lnTo>
                    <a:pt x="2527" y="753"/>
                  </a:lnTo>
                  <a:lnTo>
                    <a:pt x="2524" y="755"/>
                  </a:lnTo>
                  <a:lnTo>
                    <a:pt x="2520" y="756"/>
                  </a:lnTo>
                  <a:lnTo>
                    <a:pt x="2516" y="757"/>
                  </a:lnTo>
                  <a:lnTo>
                    <a:pt x="2446" y="757"/>
                  </a:lnTo>
                  <a:lnTo>
                    <a:pt x="2442" y="756"/>
                  </a:lnTo>
                  <a:lnTo>
                    <a:pt x="2438" y="755"/>
                  </a:lnTo>
                  <a:lnTo>
                    <a:pt x="2435" y="753"/>
                  </a:lnTo>
                  <a:lnTo>
                    <a:pt x="2432" y="750"/>
                  </a:lnTo>
                  <a:lnTo>
                    <a:pt x="2429" y="747"/>
                  </a:lnTo>
                  <a:lnTo>
                    <a:pt x="2427" y="744"/>
                  </a:lnTo>
                  <a:lnTo>
                    <a:pt x="2426" y="740"/>
                  </a:lnTo>
                  <a:lnTo>
                    <a:pt x="2426" y="736"/>
                  </a:lnTo>
                  <a:lnTo>
                    <a:pt x="2426" y="111"/>
                  </a:lnTo>
                  <a:close/>
                  <a:moveTo>
                    <a:pt x="2885" y="31"/>
                  </a:moveTo>
                  <a:lnTo>
                    <a:pt x="2885" y="27"/>
                  </a:lnTo>
                  <a:lnTo>
                    <a:pt x="2886" y="24"/>
                  </a:lnTo>
                  <a:lnTo>
                    <a:pt x="2888" y="20"/>
                  </a:lnTo>
                  <a:lnTo>
                    <a:pt x="2891" y="17"/>
                  </a:lnTo>
                  <a:lnTo>
                    <a:pt x="2893" y="15"/>
                  </a:lnTo>
                  <a:lnTo>
                    <a:pt x="2897" y="13"/>
                  </a:lnTo>
                  <a:lnTo>
                    <a:pt x="2901" y="11"/>
                  </a:lnTo>
                  <a:lnTo>
                    <a:pt x="2905" y="11"/>
                  </a:lnTo>
                  <a:lnTo>
                    <a:pt x="3331" y="11"/>
                  </a:lnTo>
                  <a:lnTo>
                    <a:pt x="3336" y="11"/>
                  </a:lnTo>
                  <a:lnTo>
                    <a:pt x="3340" y="13"/>
                  </a:lnTo>
                  <a:lnTo>
                    <a:pt x="3343" y="15"/>
                  </a:lnTo>
                  <a:lnTo>
                    <a:pt x="3346" y="17"/>
                  </a:lnTo>
                  <a:lnTo>
                    <a:pt x="3348" y="20"/>
                  </a:lnTo>
                  <a:lnTo>
                    <a:pt x="3350" y="24"/>
                  </a:lnTo>
                  <a:lnTo>
                    <a:pt x="3351" y="27"/>
                  </a:lnTo>
                  <a:lnTo>
                    <a:pt x="3352" y="31"/>
                  </a:lnTo>
                  <a:lnTo>
                    <a:pt x="3352" y="91"/>
                  </a:lnTo>
                  <a:lnTo>
                    <a:pt x="3351" y="95"/>
                  </a:lnTo>
                  <a:lnTo>
                    <a:pt x="3350" y="98"/>
                  </a:lnTo>
                  <a:lnTo>
                    <a:pt x="3348" y="102"/>
                  </a:lnTo>
                  <a:lnTo>
                    <a:pt x="3346" y="105"/>
                  </a:lnTo>
                  <a:lnTo>
                    <a:pt x="3343" y="107"/>
                  </a:lnTo>
                  <a:lnTo>
                    <a:pt x="3340" y="109"/>
                  </a:lnTo>
                  <a:lnTo>
                    <a:pt x="3336" y="111"/>
                  </a:lnTo>
                  <a:lnTo>
                    <a:pt x="3331" y="111"/>
                  </a:lnTo>
                  <a:lnTo>
                    <a:pt x="2994" y="111"/>
                  </a:lnTo>
                  <a:lnTo>
                    <a:pt x="2994" y="329"/>
                  </a:lnTo>
                  <a:lnTo>
                    <a:pt x="3278" y="329"/>
                  </a:lnTo>
                  <a:lnTo>
                    <a:pt x="3282" y="329"/>
                  </a:lnTo>
                  <a:lnTo>
                    <a:pt x="3286" y="331"/>
                  </a:lnTo>
                  <a:lnTo>
                    <a:pt x="3289" y="333"/>
                  </a:lnTo>
                  <a:lnTo>
                    <a:pt x="3292" y="335"/>
                  </a:lnTo>
                  <a:lnTo>
                    <a:pt x="3295" y="338"/>
                  </a:lnTo>
                  <a:lnTo>
                    <a:pt x="3297" y="342"/>
                  </a:lnTo>
                  <a:lnTo>
                    <a:pt x="3298" y="345"/>
                  </a:lnTo>
                  <a:lnTo>
                    <a:pt x="3298" y="349"/>
                  </a:lnTo>
                  <a:lnTo>
                    <a:pt x="3298" y="409"/>
                  </a:lnTo>
                  <a:lnTo>
                    <a:pt x="3298" y="413"/>
                  </a:lnTo>
                  <a:lnTo>
                    <a:pt x="3297" y="417"/>
                  </a:lnTo>
                  <a:lnTo>
                    <a:pt x="3295" y="420"/>
                  </a:lnTo>
                  <a:lnTo>
                    <a:pt x="3292" y="423"/>
                  </a:lnTo>
                  <a:lnTo>
                    <a:pt x="3289" y="426"/>
                  </a:lnTo>
                  <a:lnTo>
                    <a:pt x="3286" y="427"/>
                  </a:lnTo>
                  <a:lnTo>
                    <a:pt x="3282" y="429"/>
                  </a:lnTo>
                  <a:lnTo>
                    <a:pt x="3278" y="429"/>
                  </a:lnTo>
                  <a:lnTo>
                    <a:pt x="2994" y="429"/>
                  </a:lnTo>
                  <a:lnTo>
                    <a:pt x="2994" y="658"/>
                  </a:lnTo>
                  <a:lnTo>
                    <a:pt x="3331" y="658"/>
                  </a:lnTo>
                  <a:lnTo>
                    <a:pt x="3336" y="658"/>
                  </a:lnTo>
                  <a:lnTo>
                    <a:pt x="3340" y="659"/>
                  </a:lnTo>
                  <a:lnTo>
                    <a:pt x="3343" y="661"/>
                  </a:lnTo>
                  <a:lnTo>
                    <a:pt x="3346" y="664"/>
                  </a:lnTo>
                  <a:lnTo>
                    <a:pt x="3348" y="667"/>
                  </a:lnTo>
                  <a:lnTo>
                    <a:pt x="3350" y="670"/>
                  </a:lnTo>
                  <a:lnTo>
                    <a:pt x="3351" y="674"/>
                  </a:lnTo>
                  <a:lnTo>
                    <a:pt x="3352" y="678"/>
                  </a:lnTo>
                  <a:lnTo>
                    <a:pt x="3352" y="736"/>
                  </a:lnTo>
                  <a:lnTo>
                    <a:pt x="3351" y="740"/>
                  </a:lnTo>
                  <a:lnTo>
                    <a:pt x="3350" y="744"/>
                  </a:lnTo>
                  <a:lnTo>
                    <a:pt x="3348" y="747"/>
                  </a:lnTo>
                  <a:lnTo>
                    <a:pt x="3346" y="750"/>
                  </a:lnTo>
                  <a:lnTo>
                    <a:pt x="3343" y="753"/>
                  </a:lnTo>
                  <a:lnTo>
                    <a:pt x="3340" y="755"/>
                  </a:lnTo>
                  <a:lnTo>
                    <a:pt x="3336" y="756"/>
                  </a:lnTo>
                  <a:lnTo>
                    <a:pt x="3331" y="757"/>
                  </a:lnTo>
                  <a:lnTo>
                    <a:pt x="2905" y="757"/>
                  </a:lnTo>
                  <a:lnTo>
                    <a:pt x="2901" y="756"/>
                  </a:lnTo>
                  <a:lnTo>
                    <a:pt x="2897" y="755"/>
                  </a:lnTo>
                  <a:lnTo>
                    <a:pt x="2893" y="753"/>
                  </a:lnTo>
                  <a:lnTo>
                    <a:pt x="2891" y="750"/>
                  </a:lnTo>
                  <a:lnTo>
                    <a:pt x="2888" y="747"/>
                  </a:lnTo>
                  <a:lnTo>
                    <a:pt x="2886" y="744"/>
                  </a:lnTo>
                  <a:lnTo>
                    <a:pt x="2885" y="740"/>
                  </a:lnTo>
                  <a:lnTo>
                    <a:pt x="2885" y="736"/>
                  </a:lnTo>
                  <a:lnTo>
                    <a:pt x="2885" y="31"/>
                  </a:lnTo>
                  <a:close/>
                </a:path>
              </a:pathLst>
            </a:custGeom>
            <a:solidFill>
              <a:srgbClr val="40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66189756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og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1D557D12-D591-4A09-8EE7-1726893C57EF}" type="datetime1">
              <a:rPr lang="fi-FI" smtClean="0"/>
              <a:t>31.3.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Presentation name and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50B285B-2D20-4CC2-81CD-215A1F1E113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A8F0215-4D61-FE4F-B1ED-641D15782CFF}"/>
              </a:ext>
            </a:extLst>
          </p:cNvPr>
          <p:cNvSpPr txBox="1"/>
          <p:nvPr userDrawn="1"/>
        </p:nvSpPr>
        <p:spPr>
          <a:xfrm>
            <a:off x="407988" y="3013501"/>
            <a:ext cx="11376526" cy="83099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i-FI" sz="6000" b="1" dirty="0">
                <a:solidFill>
                  <a:schemeClr val="accent1"/>
                </a:solidFill>
              </a:rPr>
              <a:t>Health for life</a:t>
            </a:r>
          </a:p>
        </p:txBody>
      </p:sp>
    </p:spTree>
    <p:extLst>
      <p:ext uri="{BB962C8B-B14F-4D97-AF65-F5344CB8AC3E}">
        <p14:creationId xmlns:p14="http://schemas.microsoft.com/office/powerpoint/2010/main" val="27107715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PIC4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777038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4652963"/>
            <a:ext cx="12192000" cy="2124075"/>
          </a:xfrm>
          <a:solidFill>
            <a:schemeClr val="tx1">
              <a:alpha val="40000"/>
            </a:schemeClr>
          </a:solidFill>
        </p:spPr>
        <p:txBody>
          <a:bodyPr lIns="756000" tIns="504000" rIns="756000" bIns="936000" anchor="t" anchorCtr="0"/>
          <a:lstStyle>
            <a:lvl1pPr algn="l">
              <a:lnSpc>
                <a:spcPct val="85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6763" y="5949350"/>
            <a:ext cx="11017249" cy="359374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EAB3B1D9-5529-4186-8634-E90761927DBE}" type="datetime1">
              <a:rPr lang="fi-FI" smtClean="0"/>
              <a:t>31.3.2025</a:t>
            </a:fld>
            <a:endParaRPr lang="en-US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Presentation name and Author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50B285B-2D20-4CC2-81CD-215A1F1E1130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1" name="Group 10"/>
          <p:cNvGrpSpPr>
            <a:grpSpLocks noChangeAspect="1"/>
          </p:cNvGrpSpPr>
          <p:nvPr userDrawn="1"/>
        </p:nvGrpSpPr>
        <p:grpSpPr>
          <a:xfrm>
            <a:off x="10081690" y="404580"/>
            <a:ext cx="1703100" cy="270000"/>
            <a:chOff x="1455738" y="2698750"/>
            <a:chExt cx="9272588" cy="1470025"/>
          </a:xfrm>
          <a:solidFill>
            <a:schemeClr val="bg1"/>
          </a:solidFill>
        </p:grpSpPr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1455738" y="2698750"/>
              <a:ext cx="2762250" cy="1416050"/>
            </a:xfrm>
            <a:custGeom>
              <a:avLst/>
              <a:gdLst>
                <a:gd name="T0" fmla="*/ 1740 w 1740"/>
                <a:gd name="T1" fmla="*/ 192 h 892"/>
                <a:gd name="T2" fmla="*/ 1591 w 1740"/>
                <a:gd name="T3" fmla="*/ 483 h 892"/>
                <a:gd name="T4" fmla="*/ 1457 w 1740"/>
                <a:gd name="T5" fmla="*/ 741 h 892"/>
                <a:gd name="T6" fmla="*/ 1047 w 1740"/>
                <a:gd name="T7" fmla="*/ 709 h 892"/>
                <a:gd name="T8" fmla="*/ 607 w 1740"/>
                <a:gd name="T9" fmla="*/ 713 h 892"/>
                <a:gd name="T10" fmla="*/ 257 w 1740"/>
                <a:gd name="T11" fmla="*/ 742 h 892"/>
                <a:gd name="T12" fmla="*/ 149 w 1740"/>
                <a:gd name="T13" fmla="*/ 483 h 892"/>
                <a:gd name="T14" fmla="*/ 0 w 1740"/>
                <a:gd name="T15" fmla="*/ 189 h 892"/>
                <a:gd name="T16" fmla="*/ 36 w 1740"/>
                <a:gd name="T17" fmla="*/ 180 h 892"/>
                <a:gd name="T18" fmla="*/ 121 w 1740"/>
                <a:gd name="T19" fmla="*/ 218 h 892"/>
                <a:gd name="T20" fmla="*/ 194 w 1740"/>
                <a:gd name="T21" fmla="*/ 280 h 892"/>
                <a:gd name="T22" fmla="*/ 249 w 1740"/>
                <a:gd name="T23" fmla="*/ 235 h 892"/>
                <a:gd name="T24" fmla="*/ 335 w 1740"/>
                <a:gd name="T25" fmla="*/ 232 h 892"/>
                <a:gd name="T26" fmla="*/ 390 w 1740"/>
                <a:gd name="T27" fmla="*/ 272 h 892"/>
                <a:gd name="T28" fmla="*/ 362 w 1740"/>
                <a:gd name="T29" fmla="*/ 310 h 892"/>
                <a:gd name="T30" fmla="*/ 334 w 1740"/>
                <a:gd name="T31" fmla="*/ 386 h 892"/>
                <a:gd name="T32" fmla="*/ 344 w 1740"/>
                <a:gd name="T33" fmla="*/ 462 h 892"/>
                <a:gd name="T34" fmla="*/ 405 w 1740"/>
                <a:gd name="T35" fmla="*/ 538 h 892"/>
                <a:gd name="T36" fmla="*/ 492 w 1740"/>
                <a:gd name="T37" fmla="*/ 572 h 892"/>
                <a:gd name="T38" fmla="*/ 590 w 1740"/>
                <a:gd name="T39" fmla="*/ 561 h 892"/>
                <a:gd name="T40" fmla="*/ 658 w 1740"/>
                <a:gd name="T41" fmla="*/ 519 h 892"/>
                <a:gd name="T42" fmla="*/ 706 w 1740"/>
                <a:gd name="T43" fmla="*/ 439 h 892"/>
                <a:gd name="T44" fmla="*/ 704 w 1740"/>
                <a:gd name="T45" fmla="*/ 352 h 892"/>
                <a:gd name="T46" fmla="*/ 653 w 1740"/>
                <a:gd name="T47" fmla="*/ 275 h 892"/>
                <a:gd name="T48" fmla="*/ 596 w 1740"/>
                <a:gd name="T49" fmla="*/ 239 h 892"/>
                <a:gd name="T50" fmla="*/ 615 w 1740"/>
                <a:gd name="T51" fmla="*/ 201 h 892"/>
                <a:gd name="T52" fmla="*/ 678 w 1740"/>
                <a:gd name="T53" fmla="*/ 167 h 892"/>
                <a:gd name="T54" fmla="*/ 760 w 1740"/>
                <a:gd name="T55" fmla="*/ 178 h 892"/>
                <a:gd name="T56" fmla="*/ 790 w 1740"/>
                <a:gd name="T57" fmla="*/ 100 h 892"/>
                <a:gd name="T58" fmla="*/ 822 w 1740"/>
                <a:gd name="T59" fmla="*/ 39 h 892"/>
                <a:gd name="T60" fmla="*/ 871 w 1740"/>
                <a:gd name="T61" fmla="*/ 0 h 892"/>
                <a:gd name="T62" fmla="*/ 920 w 1740"/>
                <a:gd name="T63" fmla="*/ 39 h 892"/>
                <a:gd name="T64" fmla="*/ 962 w 1740"/>
                <a:gd name="T65" fmla="*/ 152 h 892"/>
                <a:gd name="T66" fmla="*/ 1027 w 1740"/>
                <a:gd name="T67" fmla="*/ 165 h 892"/>
                <a:gd name="T68" fmla="*/ 1093 w 1740"/>
                <a:gd name="T69" fmla="*/ 177 h 892"/>
                <a:gd name="T70" fmla="*/ 1145 w 1740"/>
                <a:gd name="T71" fmla="*/ 228 h 892"/>
                <a:gd name="T72" fmla="*/ 1134 w 1740"/>
                <a:gd name="T73" fmla="*/ 245 h 892"/>
                <a:gd name="T74" fmla="*/ 1062 w 1740"/>
                <a:gd name="T75" fmla="*/ 301 h 892"/>
                <a:gd name="T76" fmla="*/ 1033 w 1740"/>
                <a:gd name="T77" fmla="*/ 364 h 892"/>
                <a:gd name="T78" fmla="*/ 1037 w 1740"/>
                <a:gd name="T79" fmla="*/ 447 h 892"/>
                <a:gd name="T80" fmla="*/ 1076 w 1740"/>
                <a:gd name="T81" fmla="*/ 513 h 892"/>
                <a:gd name="T82" fmla="*/ 1159 w 1740"/>
                <a:gd name="T83" fmla="*/ 564 h 892"/>
                <a:gd name="T84" fmla="*/ 1257 w 1740"/>
                <a:gd name="T85" fmla="*/ 570 h 892"/>
                <a:gd name="T86" fmla="*/ 1348 w 1740"/>
                <a:gd name="T87" fmla="*/ 527 h 892"/>
                <a:gd name="T88" fmla="*/ 1393 w 1740"/>
                <a:gd name="T89" fmla="*/ 470 h 892"/>
                <a:gd name="T90" fmla="*/ 1406 w 1740"/>
                <a:gd name="T91" fmla="*/ 386 h 892"/>
                <a:gd name="T92" fmla="*/ 1378 w 1740"/>
                <a:gd name="T93" fmla="*/ 310 h 892"/>
                <a:gd name="T94" fmla="*/ 1350 w 1740"/>
                <a:gd name="T95" fmla="*/ 270 h 892"/>
                <a:gd name="T96" fmla="*/ 1400 w 1740"/>
                <a:gd name="T97" fmla="*/ 234 h 892"/>
                <a:gd name="T98" fmla="*/ 1468 w 1740"/>
                <a:gd name="T99" fmla="*/ 228 h 892"/>
                <a:gd name="T100" fmla="*/ 1530 w 1740"/>
                <a:gd name="T101" fmla="*/ 261 h 892"/>
                <a:gd name="T102" fmla="*/ 1602 w 1740"/>
                <a:gd name="T103" fmla="*/ 232 h 892"/>
                <a:gd name="T104" fmla="*/ 1696 w 1740"/>
                <a:gd name="T105" fmla="*/ 181 h 892"/>
                <a:gd name="T106" fmla="*/ 1458 w 1740"/>
                <a:gd name="T107" fmla="*/ 812 h 892"/>
                <a:gd name="T108" fmla="*/ 1432 w 1740"/>
                <a:gd name="T109" fmla="*/ 892 h 892"/>
                <a:gd name="T110" fmla="*/ 946 w 1740"/>
                <a:gd name="T111" fmla="*/ 861 h 892"/>
                <a:gd name="T112" fmla="*/ 313 w 1740"/>
                <a:gd name="T113" fmla="*/ 892 h 892"/>
                <a:gd name="T114" fmla="*/ 280 w 1740"/>
                <a:gd name="T115" fmla="*/ 816 h 892"/>
                <a:gd name="T116" fmla="*/ 457 w 1740"/>
                <a:gd name="T117" fmla="*/ 790 h 892"/>
                <a:gd name="T118" fmla="*/ 914 w 1740"/>
                <a:gd name="T119" fmla="*/ 772 h 892"/>
                <a:gd name="T120" fmla="*/ 1449 w 1740"/>
                <a:gd name="T121" fmla="*/ 806 h 8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40" h="892">
                  <a:moveTo>
                    <a:pt x="1729" y="178"/>
                  </a:moveTo>
                  <a:lnTo>
                    <a:pt x="1734" y="179"/>
                  </a:lnTo>
                  <a:lnTo>
                    <a:pt x="1735" y="180"/>
                  </a:lnTo>
                  <a:lnTo>
                    <a:pt x="1737" y="181"/>
                  </a:lnTo>
                  <a:lnTo>
                    <a:pt x="1738" y="182"/>
                  </a:lnTo>
                  <a:lnTo>
                    <a:pt x="1739" y="184"/>
                  </a:lnTo>
                  <a:lnTo>
                    <a:pt x="1740" y="186"/>
                  </a:lnTo>
                  <a:lnTo>
                    <a:pt x="1740" y="188"/>
                  </a:lnTo>
                  <a:lnTo>
                    <a:pt x="1740" y="192"/>
                  </a:lnTo>
                  <a:lnTo>
                    <a:pt x="1738" y="194"/>
                  </a:lnTo>
                  <a:lnTo>
                    <a:pt x="1718" y="230"/>
                  </a:lnTo>
                  <a:lnTo>
                    <a:pt x="1698" y="266"/>
                  </a:lnTo>
                  <a:lnTo>
                    <a:pt x="1678" y="302"/>
                  </a:lnTo>
                  <a:lnTo>
                    <a:pt x="1659" y="338"/>
                  </a:lnTo>
                  <a:lnTo>
                    <a:pt x="1641" y="375"/>
                  </a:lnTo>
                  <a:lnTo>
                    <a:pt x="1624" y="411"/>
                  </a:lnTo>
                  <a:lnTo>
                    <a:pt x="1607" y="447"/>
                  </a:lnTo>
                  <a:lnTo>
                    <a:pt x="1591" y="483"/>
                  </a:lnTo>
                  <a:lnTo>
                    <a:pt x="1561" y="552"/>
                  </a:lnTo>
                  <a:lnTo>
                    <a:pt x="1534" y="618"/>
                  </a:lnTo>
                  <a:lnTo>
                    <a:pt x="1510" y="680"/>
                  </a:lnTo>
                  <a:lnTo>
                    <a:pt x="1489" y="736"/>
                  </a:lnTo>
                  <a:lnTo>
                    <a:pt x="1488" y="739"/>
                  </a:lnTo>
                  <a:lnTo>
                    <a:pt x="1485" y="741"/>
                  </a:lnTo>
                  <a:lnTo>
                    <a:pt x="1482" y="743"/>
                  </a:lnTo>
                  <a:lnTo>
                    <a:pt x="1479" y="743"/>
                  </a:lnTo>
                  <a:lnTo>
                    <a:pt x="1457" y="741"/>
                  </a:lnTo>
                  <a:lnTo>
                    <a:pt x="1412" y="736"/>
                  </a:lnTo>
                  <a:lnTo>
                    <a:pt x="1385" y="733"/>
                  </a:lnTo>
                  <a:lnTo>
                    <a:pt x="1356" y="730"/>
                  </a:lnTo>
                  <a:lnTo>
                    <a:pt x="1324" y="727"/>
                  </a:lnTo>
                  <a:lnTo>
                    <a:pt x="1289" y="724"/>
                  </a:lnTo>
                  <a:lnTo>
                    <a:pt x="1214" y="718"/>
                  </a:lnTo>
                  <a:lnTo>
                    <a:pt x="1133" y="713"/>
                  </a:lnTo>
                  <a:lnTo>
                    <a:pt x="1090" y="711"/>
                  </a:lnTo>
                  <a:lnTo>
                    <a:pt x="1047" y="709"/>
                  </a:lnTo>
                  <a:lnTo>
                    <a:pt x="1003" y="708"/>
                  </a:lnTo>
                  <a:lnTo>
                    <a:pt x="959" y="707"/>
                  </a:lnTo>
                  <a:lnTo>
                    <a:pt x="915" y="706"/>
                  </a:lnTo>
                  <a:lnTo>
                    <a:pt x="871" y="706"/>
                  </a:lnTo>
                  <a:lnTo>
                    <a:pt x="826" y="706"/>
                  </a:lnTo>
                  <a:lnTo>
                    <a:pt x="782" y="707"/>
                  </a:lnTo>
                  <a:lnTo>
                    <a:pt x="738" y="708"/>
                  </a:lnTo>
                  <a:lnTo>
                    <a:pt x="693" y="709"/>
                  </a:lnTo>
                  <a:lnTo>
                    <a:pt x="607" y="713"/>
                  </a:lnTo>
                  <a:lnTo>
                    <a:pt x="526" y="718"/>
                  </a:lnTo>
                  <a:lnTo>
                    <a:pt x="488" y="721"/>
                  </a:lnTo>
                  <a:lnTo>
                    <a:pt x="451" y="724"/>
                  </a:lnTo>
                  <a:lnTo>
                    <a:pt x="384" y="730"/>
                  </a:lnTo>
                  <a:lnTo>
                    <a:pt x="328" y="736"/>
                  </a:lnTo>
                  <a:lnTo>
                    <a:pt x="284" y="741"/>
                  </a:lnTo>
                  <a:lnTo>
                    <a:pt x="263" y="743"/>
                  </a:lnTo>
                  <a:lnTo>
                    <a:pt x="259" y="743"/>
                  </a:lnTo>
                  <a:lnTo>
                    <a:pt x="257" y="742"/>
                  </a:lnTo>
                  <a:lnTo>
                    <a:pt x="255" y="741"/>
                  </a:lnTo>
                  <a:lnTo>
                    <a:pt x="254" y="740"/>
                  </a:lnTo>
                  <a:lnTo>
                    <a:pt x="253" y="739"/>
                  </a:lnTo>
                  <a:lnTo>
                    <a:pt x="251" y="736"/>
                  </a:lnTo>
                  <a:lnTo>
                    <a:pt x="230" y="680"/>
                  </a:lnTo>
                  <a:lnTo>
                    <a:pt x="206" y="618"/>
                  </a:lnTo>
                  <a:lnTo>
                    <a:pt x="179" y="552"/>
                  </a:lnTo>
                  <a:lnTo>
                    <a:pt x="164" y="518"/>
                  </a:lnTo>
                  <a:lnTo>
                    <a:pt x="149" y="483"/>
                  </a:lnTo>
                  <a:lnTo>
                    <a:pt x="116" y="411"/>
                  </a:lnTo>
                  <a:lnTo>
                    <a:pt x="99" y="374"/>
                  </a:lnTo>
                  <a:lnTo>
                    <a:pt x="81" y="338"/>
                  </a:lnTo>
                  <a:lnTo>
                    <a:pt x="62" y="302"/>
                  </a:lnTo>
                  <a:lnTo>
                    <a:pt x="42" y="266"/>
                  </a:lnTo>
                  <a:lnTo>
                    <a:pt x="22" y="230"/>
                  </a:lnTo>
                  <a:lnTo>
                    <a:pt x="2" y="194"/>
                  </a:lnTo>
                  <a:lnTo>
                    <a:pt x="1" y="191"/>
                  </a:lnTo>
                  <a:lnTo>
                    <a:pt x="0" y="189"/>
                  </a:lnTo>
                  <a:lnTo>
                    <a:pt x="0" y="186"/>
                  </a:lnTo>
                  <a:lnTo>
                    <a:pt x="2" y="183"/>
                  </a:lnTo>
                  <a:lnTo>
                    <a:pt x="3" y="181"/>
                  </a:lnTo>
                  <a:lnTo>
                    <a:pt x="6" y="179"/>
                  </a:lnTo>
                  <a:lnTo>
                    <a:pt x="8" y="178"/>
                  </a:lnTo>
                  <a:lnTo>
                    <a:pt x="11" y="178"/>
                  </a:lnTo>
                  <a:lnTo>
                    <a:pt x="19" y="178"/>
                  </a:lnTo>
                  <a:lnTo>
                    <a:pt x="28" y="179"/>
                  </a:lnTo>
                  <a:lnTo>
                    <a:pt x="36" y="180"/>
                  </a:lnTo>
                  <a:lnTo>
                    <a:pt x="44" y="181"/>
                  </a:lnTo>
                  <a:lnTo>
                    <a:pt x="52" y="183"/>
                  </a:lnTo>
                  <a:lnTo>
                    <a:pt x="59" y="186"/>
                  </a:lnTo>
                  <a:lnTo>
                    <a:pt x="74" y="191"/>
                  </a:lnTo>
                  <a:lnTo>
                    <a:pt x="82" y="194"/>
                  </a:lnTo>
                  <a:lnTo>
                    <a:pt x="89" y="198"/>
                  </a:lnTo>
                  <a:lnTo>
                    <a:pt x="102" y="205"/>
                  </a:lnTo>
                  <a:lnTo>
                    <a:pt x="115" y="214"/>
                  </a:lnTo>
                  <a:lnTo>
                    <a:pt x="121" y="218"/>
                  </a:lnTo>
                  <a:lnTo>
                    <a:pt x="127" y="223"/>
                  </a:lnTo>
                  <a:lnTo>
                    <a:pt x="133" y="227"/>
                  </a:lnTo>
                  <a:lnTo>
                    <a:pt x="138" y="232"/>
                  </a:lnTo>
                  <a:lnTo>
                    <a:pt x="149" y="241"/>
                  </a:lnTo>
                  <a:lnTo>
                    <a:pt x="167" y="259"/>
                  </a:lnTo>
                  <a:lnTo>
                    <a:pt x="174" y="267"/>
                  </a:lnTo>
                  <a:lnTo>
                    <a:pt x="181" y="275"/>
                  </a:lnTo>
                  <a:lnTo>
                    <a:pt x="190" y="287"/>
                  </a:lnTo>
                  <a:lnTo>
                    <a:pt x="194" y="280"/>
                  </a:lnTo>
                  <a:lnTo>
                    <a:pt x="199" y="273"/>
                  </a:lnTo>
                  <a:lnTo>
                    <a:pt x="204" y="267"/>
                  </a:lnTo>
                  <a:lnTo>
                    <a:pt x="210" y="261"/>
                  </a:lnTo>
                  <a:lnTo>
                    <a:pt x="216" y="256"/>
                  </a:lnTo>
                  <a:lnTo>
                    <a:pt x="222" y="251"/>
                  </a:lnTo>
                  <a:lnTo>
                    <a:pt x="228" y="246"/>
                  </a:lnTo>
                  <a:lnTo>
                    <a:pt x="235" y="242"/>
                  </a:lnTo>
                  <a:lnTo>
                    <a:pt x="242" y="238"/>
                  </a:lnTo>
                  <a:lnTo>
                    <a:pt x="249" y="235"/>
                  </a:lnTo>
                  <a:lnTo>
                    <a:pt x="264" y="230"/>
                  </a:lnTo>
                  <a:lnTo>
                    <a:pt x="272" y="228"/>
                  </a:lnTo>
                  <a:lnTo>
                    <a:pt x="280" y="227"/>
                  </a:lnTo>
                  <a:lnTo>
                    <a:pt x="288" y="226"/>
                  </a:lnTo>
                  <a:lnTo>
                    <a:pt x="296" y="226"/>
                  </a:lnTo>
                  <a:lnTo>
                    <a:pt x="309" y="226"/>
                  </a:lnTo>
                  <a:lnTo>
                    <a:pt x="316" y="227"/>
                  </a:lnTo>
                  <a:lnTo>
                    <a:pt x="322" y="228"/>
                  </a:lnTo>
                  <a:lnTo>
                    <a:pt x="335" y="232"/>
                  </a:lnTo>
                  <a:lnTo>
                    <a:pt x="346" y="236"/>
                  </a:lnTo>
                  <a:lnTo>
                    <a:pt x="358" y="242"/>
                  </a:lnTo>
                  <a:lnTo>
                    <a:pt x="368" y="249"/>
                  </a:lnTo>
                  <a:lnTo>
                    <a:pt x="374" y="253"/>
                  </a:lnTo>
                  <a:lnTo>
                    <a:pt x="378" y="257"/>
                  </a:lnTo>
                  <a:lnTo>
                    <a:pt x="388" y="266"/>
                  </a:lnTo>
                  <a:lnTo>
                    <a:pt x="389" y="268"/>
                  </a:lnTo>
                  <a:lnTo>
                    <a:pt x="390" y="270"/>
                  </a:lnTo>
                  <a:lnTo>
                    <a:pt x="390" y="272"/>
                  </a:lnTo>
                  <a:lnTo>
                    <a:pt x="390" y="274"/>
                  </a:lnTo>
                  <a:lnTo>
                    <a:pt x="390" y="276"/>
                  </a:lnTo>
                  <a:lnTo>
                    <a:pt x="389" y="278"/>
                  </a:lnTo>
                  <a:lnTo>
                    <a:pt x="388" y="280"/>
                  </a:lnTo>
                  <a:lnTo>
                    <a:pt x="387" y="281"/>
                  </a:lnTo>
                  <a:lnTo>
                    <a:pt x="380" y="288"/>
                  </a:lnTo>
                  <a:lnTo>
                    <a:pt x="374" y="295"/>
                  </a:lnTo>
                  <a:lnTo>
                    <a:pt x="368" y="303"/>
                  </a:lnTo>
                  <a:lnTo>
                    <a:pt x="362" y="310"/>
                  </a:lnTo>
                  <a:lnTo>
                    <a:pt x="357" y="318"/>
                  </a:lnTo>
                  <a:lnTo>
                    <a:pt x="353" y="326"/>
                  </a:lnTo>
                  <a:lnTo>
                    <a:pt x="349" y="334"/>
                  </a:lnTo>
                  <a:lnTo>
                    <a:pt x="345" y="342"/>
                  </a:lnTo>
                  <a:lnTo>
                    <a:pt x="342" y="351"/>
                  </a:lnTo>
                  <a:lnTo>
                    <a:pt x="339" y="360"/>
                  </a:lnTo>
                  <a:lnTo>
                    <a:pt x="337" y="368"/>
                  </a:lnTo>
                  <a:lnTo>
                    <a:pt x="335" y="377"/>
                  </a:lnTo>
                  <a:lnTo>
                    <a:pt x="334" y="386"/>
                  </a:lnTo>
                  <a:lnTo>
                    <a:pt x="333" y="395"/>
                  </a:lnTo>
                  <a:lnTo>
                    <a:pt x="333" y="404"/>
                  </a:lnTo>
                  <a:lnTo>
                    <a:pt x="333" y="414"/>
                  </a:lnTo>
                  <a:lnTo>
                    <a:pt x="334" y="422"/>
                  </a:lnTo>
                  <a:lnTo>
                    <a:pt x="335" y="430"/>
                  </a:lnTo>
                  <a:lnTo>
                    <a:pt x="337" y="438"/>
                  </a:lnTo>
                  <a:lnTo>
                    <a:pt x="339" y="446"/>
                  </a:lnTo>
                  <a:lnTo>
                    <a:pt x="342" y="454"/>
                  </a:lnTo>
                  <a:lnTo>
                    <a:pt x="344" y="462"/>
                  </a:lnTo>
                  <a:lnTo>
                    <a:pt x="348" y="470"/>
                  </a:lnTo>
                  <a:lnTo>
                    <a:pt x="351" y="477"/>
                  </a:lnTo>
                  <a:lnTo>
                    <a:pt x="355" y="484"/>
                  </a:lnTo>
                  <a:lnTo>
                    <a:pt x="360" y="491"/>
                  </a:lnTo>
                  <a:lnTo>
                    <a:pt x="369" y="504"/>
                  </a:lnTo>
                  <a:lnTo>
                    <a:pt x="380" y="516"/>
                  </a:lnTo>
                  <a:lnTo>
                    <a:pt x="386" y="522"/>
                  </a:lnTo>
                  <a:lnTo>
                    <a:pt x="392" y="527"/>
                  </a:lnTo>
                  <a:lnTo>
                    <a:pt x="405" y="538"/>
                  </a:lnTo>
                  <a:lnTo>
                    <a:pt x="412" y="542"/>
                  </a:lnTo>
                  <a:lnTo>
                    <a:pt x="419" y="547"/>
                  </a:lnTo>
                  <a:lnTo>
                    <a:pt x="434" y="555"/>
                  </a:lnTo>
                  <a:lnTo>
                    <a:pt x="442" y="558"/>
                  </a:lnTo>
                  <a:lnTo>
                    <a:pt x="450" y="561"/>
                  </a:lnTo>
                  <a:lnTo>
                    <a:pt x="466" y="566"/>
                  </a:lnTo>
                  <a:lnTo>
                    <a:pt x="475" y="569"/>
                  </a:lnTo>
                  <a:lnTo>
                    <a:pt x="484" y="570"/>
                  </a:lnTo>
                  <a:lnTo>
                    <a:pt x="492" y="572"/>
                  </a:lnTo>
                  <a:lnTo>
                    <a:pt x="501" y="573"/>
                  </a:lnTo>
                  <a:lnTo>
                    <a:pt x="519" y="573"/>
                  </a:lnTo>
                  <a:lnTo>
                    <a:pt x="534" y="573"/>
                  </a:lnTo>
                  <a:lnTo>
                    <a:pt x="544" y="572"/>
                  </a:lnTo>
                  <a:lnTo>
                    <a:pt x="553" y="571"/>
                  </a:lnTo>
                  <a:lnTo>
                    <a:pt x="563" y="569"/>
                  </a:lnTo>
                  <a:lnTo>
                    <a:pt x="572" y="567"/>
                  </a:lnTo>
                  <a:lnTo>
                    <a:pt x="581" y="564"/>
                  </a:lnTo>
                  <a:lnTo>
                    <a:pt x="590" y="561"/>
                  </a:lnTo>
                  <a:lnTo>
                    <a:pt x="598" y="558"/>
                  </a:lnTo>
                  <a:lnTo>
                    <a:pt x="607" y="554"/>
                  </a:lnTo>
                  <a:lnTo>
                    <a:pt x="615" y="550"/>
                  </a:lnTo>
                  <a:lnTo>
                    <a:pt x="623" y="546"/>
                  </a:lnTo>
                  <a:lnTo>
                    <a:pt x="630" y="541"/>
                  </a:lnTo>
                  <a:lnTo>
                    <a:pt x="637" y="536"/>
                  </a:lnTo>
                  <a:lnTo>
                    <a:pt x="645" y="531"/>
                  </a:lnTo>
                  <a:lnTo>
                    <a:pt x="651" y="525"/>
                  </a:lnTo>
                  <a:lnTo>
                    <a:pt x="658" y="519"/>
                  </a:lnTo>
                  <a:lnTo>
                    <a:pt x="664" y="513"/>
                  </a:lnTo>
                  <a:lnTo>
                    <a:pt x="670" y="507"/>
                  </a:lnTo>
                  <a:lnTo>
                    <a:pt x="675" y="500"/>
                  </a:lnTo>
                  <a:lnTo>
                    <a:pt x="685" y="486"/>
                  </a:lnTo>
                  <a:lnTo>
                    <a:pt x="690" y="479"/>
                  </a:lnTo>
                  <a:lnTo>
                    <a:pt x="694" y="471"/>
                  </a:lnTo>
                  <a:lnTo>
                    <a:pt x="701" y="455"/>
                  </a:lnTo>
                  <a:lnTo>
                    <a:pt x="703" y="447"/>
                  </a:lnTo>
                  <a:lnTo>
                    <a:pt x="706" y="439"/>
                  </a:lnTo>
                  <a:lnTo>
                    <a:pt x="708" y="430"/>
                  </a:lnTo>
                  <a:lnTo>
                    <a:pt x="709" y="422"/>
                  </a:lnTo>
                  <a:lnTo>
                    <a:pt x="710" y="413"/>
                  </a:lnTo>
                  <a:lnTo>
                    <a:pt x="711" y="405"/>
                  </a:lnTo>
                  <a:lnTo>
                    <a:pt x="711" y="396"/>
                  </a:lnTo>
                  <a:lnTo>
                    <a:pt x="711" y="387"/>
                  </a:lnTo>
                  <a:lnTo>
                    <a:pt x="709" y="375"/>
                  </a:lnTo>
                  <a:lnTo>
                    <a:pt x="707" y="364"/>
                  </a:lnTo>
                  <a:lnTo>
                    <a:pt x="704" y="352"/>
                  </a:lnTo>
                  <a:lnTo>
                    <a:pt x="701" y="341"/>
                  </a:lnTo>
                  <a:lnTo>
                    <a:pt x="696" y="331"/>
                  </a:lnTo>
                  <a:lnTo>
                    <a:pt x="691" y="320"/>
                  </a:lnTo>
                  <a:lnTo>
                    <a:pt x="685" y="310"/>
                  </a:lnTo>
                  <a:lnTo>
                    <a:pt x="678" y="301"/>
                  </a:lnTo>
                  <a:lnTo>
                    <a:pt x="674" y="296"/>
                  </a:lnTo>
                  <a:lnTo>
                    <a:pt x="670" y="292"/>
                  </a:lnTo>
                  <a:lnTo>
                    <a:pt x="662" y="283"/>
                  </a:lnTo>
                  <a:lnTo>
                    <a:pt x="653" y="275"/>
                  </a:lnTo>
                  <a:lnTo>
                    <a:pt x="649" y="271"/>
                  </a:lnTo>
                  <a:lnTo>
                    <a:pt x="644" y="267"/>
                  </a:lnTo>
                  <a:lnTo>
                    <a:pt x="634" y="260"/>
                  </a:lnTo>
                  <a:lnTo>
                    <a:pt x="624" y="254"/>
                  </a:lnTo>
                  <a:lnTo>
                    <a:pt x="612" y="248"/>
                  </a:lnTo>
                  <a:lnTo>
                    <a:pt x="601" y="243"/>
                  </a:lnTo>
                  <a:lnTo>
                    <a:pt x="599" y="242"/>
                  </a:lnTo>
                  <a:lnTo>
                    <a:pt x="597" y="240"/>
                  </a:lnTo>
                  <a:lnTo>
                    <a:pt x="596" y="239"/>
                  </a:lnTo>
                  <a:lnTo>
                    <a:pt x="595" y="237"/>
                  </a:lnTo>
                  <a:lnTo>
                    <a:pt x="594" y="234"/>
                  </a:lnTo>
                  <a:lnTo>
                    <a:pt x="594" y="232"/>
                  </a:lnTo>
                  <a:lnTo>
                    <a:pt x="595" y="230"/>
                  </a:lnTo>
                  <a:lnTo>
                    <a:pt x="595" y="228"/>
                  </a:lnTo>
                  <a:lnTo>
                    <a:pt x="600" y="221"/>
                  </a:lnTo>
                  <a:lnTo>
                    <a:pt x="604" y="214"/>
                  </a:lnTo>
                  <a:lnTo>
                    <a:pt x="610" y="207"/>
                  </a:lnTo>
                  <a:lnTo>
                    <a:pt x="615" y="201"/>
                  </a:lnTo>
                  <a:lnTo>
                    <a:pt x="621" y="196"/>
                  </a:lnTo>
                  <a:lnTo>
                    <a:pt x="627" y="190"/>
                  </a:lnTo>
                  <a:lnTo>
                    <a:pt x="634" y="186"/>
                  </a:lnTo>
                  <a:lnTo>
                    <a:pt x="641" y="181"/>
                  </a:lnTo>
                  <a:lnTo>
                    <a:pt x="648" y="177"/>
                  </a:lnTo>
                  <a:lnTo>
                    <a:pt x="655" y="174"/>
                  </a:lnTo>
                  <a:lnTo>
                    <a:pt x="663" y="171"/>
                  </a:lnTo>
                  <a:lnTo>
                    <a:pt x="670" y="169"/>
                  </a:lnTo>
                  <a:lnTo>
                    <a:pt x="678" y="167"/>
                  </a:lnTo>
                  <a:lnTo>
                    <a:pt x="686" y="165"/>
                  </a:lnTo>
                  <a:lnTo>
                    <a:pt x="695" y="164"/>
                  </a:lnTo>
                  <a:lnTo>
                    <a:pt x="703" y="164"/>
                  </a:lnTo>
                  <a:lnTo>
                    <a:pt x="713" y="165"/>
                  </a:lnTo>
                  <a:lnTo>
                    <a:pt x="722" y="166"/>
                  </a:lnTo>
                  <a:lnTo>
                    <a:pt x="733" y="168"/>
                  </a:lnTo>
                  <a:lnTo>
                    <a:pt x="742" y="170"/>
                  </a:lnTo>
                  <a:lnTo>
                    <a:pt x="751" y="174"/>
                  </a:lnTo>
                  <a:lnTo>
                    <a:pt x="760" y="178"/>
                  </a:lnTo>
                  <a:lnTo>
                    <a:pt x="768" y="182"/>
                  </a:lnTo>
                  <a:lnTo>
                    <a:pt x="776" y="188"/>
                  </a:lnTo>
                  <a:lnTo>
                    <a:pt x="777" y="173"/>
                  </a:lnTo>
                  <a:lnTo>
                    <a:pt x="778" y="163"/>
                  </a:lnTo>
                  <a:lnTo>
                    <a:pt x="779" y="152"/>
                  </a:lnTo>
                  <a:lnTo>
                    <a:pt x="781" y="140"/>
                  </a:lnTo>
                  <a:lnTo>
                    <a:pt x="783" y="127"/>
                  </a:lnTo>
                  <a:lnTo>
                    <a:pt x="786" y="114"/>
                  </a:lnTo>
                  <a:lnTo>
                    <a:pt x="790" y="100"/>
                  </a:lnTo>
                  <a:lnTo>
                    <a:pt x="795" y="86"/>
                  </a:lnTo>
                  <a:lnTo>
                    <a:pt x="798" y="79"/>
                  </a:lnTo>
                  <a:lnTo>
                    <a:pt x="801" y="72"/>
                  </a:lnTo>
                  <a:lnTo>
                    <a:pt x="805" y="66"/>
                  </a:lnTo>
                  <a:lnTo>
                    <a:pt x="808" y="59"/>
                  </a:lnTo>
                  <a:lnTo>
                    <a:pt x="812" y="52"/>
                  </a:lnTo>
                  <a:lnTo>
                    <a:pt x="815" y="49"/>
                  </a:lnTo>
                  <a:lnTo>
                    <a:pt x="817" y="46"/>
                  </a:lnTo>
                  <a:lnTo>
                    <a:pt x="822" y="39"/>
                  </a:lnTo>
                  <a:lnTo>
                    <a:pt x="827" y="33"/>
                  </a:lnTo>
                  <a:lnTo>
                    <a:pt x="832" y="27"/>
                  </a:lnTo>
                  <a:lnTo>
                    <a:pt x="838" y="21"/>
                  </a:lnTo>
                  <a:lnTo>
                    <a:pt x="844" y="16"/>
                  </a:lnTo>
                  <a:lnTo>
                    <a:pt x="851" y="11"/>
                  </a:lnTo>
                  <a:lnTo>
                    <a:pt x="858" y="6"/>
                  </a:lnTo>
                  <a:lnTo>
                    <a:pt x="865" y="1"/>
                  </a:lnTo>
                  <a:lnTo>
                    <a:pt x="868" y="0"/>
                  </a:lnTo>
                  <a:lnTo>
                    <a:pt x="871" y="0"/>
                  </a:lnTo>
                  <a:lnTo>
                    <a:pt x="873" y="0"/>
                  </a:lnTo>
                  <a:lnTo>
                    <a:pt x="876" y="1"/>
                  </a:lnTo>
                  <a:lnTo>
                    <a:pt x="883" y="6"/>
                  </a:lnTo>
                  <a:lnTo>
                    <a:pt x="891" y="11"/>
                  </a:lnTo>
                  <a:lnTo>
                    <a:pt x="897" y="16"/>
                  </a:lnTo>
                  <a:lnTo>
                    <a:pt x="903" y="21"/>
                  </a:lnTo>
                  <a:lnTo>
                    <a:pt x="909" y="27"/>
                  </a:lnTo>
                  <a:lnTo>
                    <a:pt x="915" y="33"/>
                  </a:lnTo>
                  <a:lnTo>
                    <a:pt x="920" y="39"/>
                  </a:lnTo>
                  <a:lnTo>
                    <a:pt x="924" y="46"/>
                  </a:lnTo>
                  <a:lnTo>
                    <a:pt x="933" y="59"/>
                  </a:lnTo>
                  <a:lnTo>
                    <a:pt x="940" y="72"/>
                  </a:lnTo>
                  <a:lnTo>
                    <a:pt x="946" y="86"/>
                  </a:lnTo>
                  <a:lnTo>
                    <a:pt x="951" y="100"/>
                  </a:lnTo>
                  <a:lnTo>
                    <a:pt x="955" y="114"/>
                  </a:lnTo>
                  <a:lnTo>
                    <a:pt x="958" y="127"/>
                  </a:lnTo>
                  <a:lnTo>
                    <a:pt x="961" y="140"/>
                  </a:lnTo>
                  <a:lnTo>
                    <a:pt x="962" y="152"/>
                  </a:lnTo>
                  <a:lnTo>
                    <a:pt x="964" y="173"/>
                  </a:lnTo>
                  <a:lnTo>
                    <a:pt x="965" y="188"/>
                  </a:lnTo>
                  <a:lnTo>
                    <a:pt x="973" y="182"/>
                  </a:lnTo>
                  <a:lnTo>
                    <a:pt x="981" y="178"/>
                  </a:lnTo>
                  <a:lnTo>
                    <a:pt x="990" y="174"/>
                  </a:lnTo>
                  <a:lnTo>
                    <a:pt x="999" y="170"/>
                  </a:lnTo>
                  <a:lnTo>
                    <a:pt x="1008" y="168"/>
                  </a:lnTo>
                  <a:lnTo>
                    <a:pt x="1018" y="166"/>
                  </a:lnTo>
                  <a:lnTo>
                    <a:pt x="1027" y="165"/>
                  </a:lnTo>
                  <a:lnTo>
                    <a:pt x="1037" y="164"/>
                  </a:lnTo>
                  <a:lnTo>
                    <a:pt x="1046" y="164"/>
                  </a:lnTo>
                  <a:lnTo>
                    <a:pt x="1054" y="165"/>
                  </a:lnTo>
                  <a:lnTo>
                    <a:pt x="1058" y="166"/>
                  </a:lnTo>
                  <a:lnTo>
                    <a:pt x="1062" y="167"/>
                  </a:lnTo>
                  <a:lnTo>
                    <a:pt x="1070" y="169"/>
                  </a:lnTo>
                  <a:lnTo>
                    <a:pt x="1078" y="171"/>
                  </a:lnTo>
                  <a:lnTo>
                    <a:pt x="1085" y="174"/>
                  </a:lnTo>
                  <a:lnTo>
                    <a:pt x="1093" y="177"/>
                  </a:lnTo>
                  <a:lnTo>
                    <a:pt x="1100" y="181"/>
                  </a:lnTo>
                  <a:lnTo>
                    <a:pt x="1107" y="186"/>
                  </a:lnTo>
                  <a:lnTo>
                    <a:pt x="1113" y="190"/>
                  </a:lnTo>
                  <a:lnTo>
                    <a:pt x="1119" y="196"/>
                  </a:lnTo>
                  <a:lnTo>
                    <a:pt x="1125" y="201"/>
                  </a:lnTo>
                  <a:lnTo>
                    <a:pt x="1131" y="207"/>
                  </a:lnTo>
                  <a:lnTo>
                    <a:pt x="1136" y="214"/>
                  </a:lnTo>
                  <a:lnTo>
                    <a:pt x="1141" y="221"/>
                  </a:lnTo>
                  <a:lnTo>
                    <a:pt x="1145" y="228"/>
                  </a:lnTo>
                  <a:lnTo>
                    <a:pt x="1146" y="230"/>
                  </a:lnTo>
                  <a:lnTo>
                    <a:pt x="1146" y="232"/>
                  </a:lnTo>
                  <a:lnTo>
                    <a:pt x="1146" y="234"/>
                  </a:lnTo>
                  <a:lnTo>
                    <a:pt x="1146" y="237"/>
                  </a:lnTo>
                  <a:lnTo>
                    <a:pt x="1145" y="239"/>
                  </a:lnTo>
                  <a:lnTo>
                    <a:pt x="1143" y="240"/>
                  </a:lnTo>
                  <a:lnTo>
                    <a:pt x="1141" y="242"/>
                  </a:lnTo>
                  <a:lnTo>
                    <a:pt x="1139" y="243"/>
                  </a:lnTo>
                  <a:lnTo>
                    <a:pt x="1134" y="245"/>
                  </a:lnTo>
                  <a:lnTo>
                    <a:pt x="1128" y="248"/>
                  </a:lnTo>
                  <a:lnTo>
                    <a:pt x="1117" y="254"/>
                  </a:lnTo>
                  <a:lnTo>
                    <a:pt x="1106" y="260"/>
                  </a:lnTo>
                  <a:lnTo>
                    <a:pt x="1096" y="267"/>
                  </a:lnTo>
                  <a:lnTo>
                    <a:pt x="1087" y="275"/>
                  </a:lnTo>
                  <a:lnTo>
                    <a:pt x="1082" y="279"/>
                  </a:lnTo>
                  <a:lnTo>
                    <a:pt x="1078" y="283"/>
                  </a:lnTo>
                  <a:lnTo>
                    <a:pt x="1070" y="292"/>
                  </a:lnTo>
                  <a:lnTo>
                    <a:pt x="1062" y="301"/>
                  </a:lnTo>
                  <a:lnTo>
                    <a:pt x="1056" y="310"/>
                  </a:lnTo>
                  <a:lnTo>
                    <a:pt x="1053" y="315"/>
                  </a:lnTo>
                  <a:lnTo>
                    <a:pt x="1050" y="320"/>
                  </a:lnTo>
                  <a:lnTo>
                    <a:pt x="1044" y="331"/>
                  </a:lnTo>
                  <a:lnTo>
                    <a:pt x="1042" y="336"/>
                  </a:lnTo>
                  <a:lnTo>
                    <a:pt x="1040" y="341"/>
                  </a:lnTo>
                  <a:lnTo>
                    <a:pt x="1038" y="347"/>
                  </a:lnTo>
                  <a:lnTo>
                    <a:pt x="1036" y="352"/>
                  </a:lnTo>
                  <a:lnTo>
                    <a:pt x="1033" y="364"/>
                  </a:lnTo>
                  <a:lnTo>
                    <a:pt x="1031" y="375"/>
                  </a:lnTo>
                  <a:lnTo>
                    <a:pt x="1030" y="387"/>
                  </a:lnTo>
                  <a:lnTo>
                    <a:pt x="1029" y="396"/>
                  </a:lnTo>
                  <a:lnTo>
                    <a:pt x="1029" y="405"/>
                  </a:lnTo>
                  <a:lnTo>
                    <a:pt x="1030" y="413"/>
                  </a:lnTo>
                  <a:lnTo>
                    <a:pt x="1031" y="422"/>
                  </a:lnTo>
                  <a:lnTo>
                    <a:pt x="1032" y="430"/>
                  </a:lnTo>
                  <a:lnTo>
                    <a:pt x="1034" y="439"/>
                  </a:lnTo>
                  <a:lnTo>
                    <a:pt x="1037" y="447"/>
                  </a:lnTo>
                  <a:lnTo>
                    <a:pt x="1040" y="455"/>
                  </a:lnTo>
                  <a:lnTo>
                    <a:pt x="1043" y="464"/>
                  </a:lnTo>
                  <a:lnTo>
                    <a:pt x="1047" y="471"/>
                  </a:lnTo>
                  <a:lnTo>
                    <a:pt x="1051" y="479"/>
                  </a:lnTo>
                  <a:lnTo>
                    <a:pt x="1055" y="486"/>
                  </a:lnTo>
                  <a:lnTo>
                    <a:pt x="1060" y="493"/>
                  </a:lnTo>
                  <a:lnTo>
                    <a:pt x="1065" y="500"/>
                  </a:lnTo>
                  <a:lnTo>
                    <a:pt x="1070" y="507"/>
                  </a:lnTo>
                  <a:lnTo>
                    <a:pt x="1076" y="513"/>
                  </a:lnTo>
                  <a:lnTo>
                    <a:pt x="1082" y="519"/>
                  </a:lnTo>
                  <a:lnTo>
                    <a:pt x="1089" y="525"/>
                  </a:lnTo>
                  <a:lnTo>
                    <a:pt x="1103" y="536"/>
                  </a:lnTo>
                  <a:lnTo>
                    <a:pt x="1110" y="541"/>
                  </a:lnTo>
                  <a:lnTo>
                    <a:pt x="1118" y="546"/>
                  </a:lnTo>
                  <a:lnTo>
                    <a:pt x="1134" y="554"/>
                  </a:lnTo>
                  <a:lnTo>
                    <a:pt x="1142" y="558"/>
                  </a:lnTo>
                  <a:lnTo>
                    <a:pt x="1151" y="561"/>
                  </a:lnTo>
                  <a:lnTo>
                    <a:pt x="1159" y="564"/>
                  </a:lnTo>
                  <a:lnTo>
                    <a:pt x="1168" y="567"/>
                  </a:lnTo>
                  <a:lnTo>
                    <a:pt x="1178" y="569"/>
                  </a:lnTo>
                  <a:lnTo>
                    <a:pt x="1187" y="571"/>
                  </a:lnTo>
                  <a:lnTo>
                    <a:pt x="1196" y="572"/>
                  </a:lnTo>
                  <a:lnTo>
                    <a:pt x="1206" y="573"/>
                  </a:lnTo>
                  <a:lnTo>
                    <a:pt x="1221" y="573"/>
                  </a:lnTo>
                  <a:lnTo>
                    <a:pt x="1239" y="573"/>
                  </a:lnTo>
                  <a:lnTo>
                    <a:pt x="1248" y="572"/>
                  </a:lnTo>
                  <a:lnTo>
                    <a:pt x="1257" y="570"/>
                  </a:lnTo>
                  <a:lnTo>
                    <a:pt x="1274" y="566"/>
                  </a:lnTo>
                  <a:lnTo>
                    <a:pt x="1290" y="561"/>
                  </a:lnTo>
                  <a:lnTo>
                    <a:pt x="1306" y="555"/>
                  </a:lnTo>
                  <a:lnTo>
                    <a:pt x="1314" y="551"/>
                  </a:lnTo>
                  <a:lnTo>
                    <a:pt x="1321" y="547"/>
                  </a:lnTo>
                  <a:lnTo>
                    <a:pt x="1328" y="542"/>
                  </a:lnTo>
                  <a:lnTo>
                    <a:pt x="1335" y="538"/>
                  </a:lnTo>
                  <a:lnTo>
                    <a:pt x="1342" y="533"/>
                  </a:lnTo>
                  <a:lnTo>
                    <a:pt x="1348" y="527"/>
                  </a:lnTo>
                  <a:lnTo>
                    <a:pt x="1354" y="522"/>
                  </a:lnTo>
                  <a:lnTo>
                    <a:pt x="1360" y="516"/>
                  </a:lnTo>
                  <a:lnTo>
                    <a:pt x="1366" y="510"/>
                  </a:lnTo>
                  <a:lnTo>
                    <a:pt x="1371" y="504"/>
                  </a:lnTo>
                  <a:lnTo>
                    <a:pt x="1376" y="498"/>
                  </a:lnTo>
                  <a:lnTo>
                    <a:pt x="1381" y="491"/>
                  </a:lnTo>
                  <a:lnTo>
                    <a:pt x="1385" y="484"/>
                  </a:lnTo>
                  <a:lnTo>
                    <a:pt x="1389" y="477"/>
                  </a:lnTo>
                  <a:lnTo>
                    <a:pt x="1393" y="470"/>
                  </a:lnTo>
                  <a:lnTo>
                    <a:pt x="1396" y="462"/>
                  </a:lnTo>
                  <a:lnTo>
                    <a:pt x="1401" y="446"/>
                  </a:lnTo>
                  <a:lnTo>
                    <a:pt x="1403" y="438"/>
                  </a:lnTo>
                  <a:lnTo>
                    <a:pt x="1405" y="430"/>
                  </a:lnTo>
                  <a:lnTo>
                    <a:pt x="1406" y="422"/>
                  </a:lnTo>
                  <a:lnTo>
                    <a:pt x="1407" y="414"/>
                  </a:lnTo>
                  <a:lnTo>
                    <a:pt x="1407" y="404"/>
                  </a:lnTo>
                  <a:lnTo>
                    <a:pt x="1407" y="395"/>
                  </a:lnTo>
                  <a:lnTo>
                    <a:pt x="1406" y="386"/>
                  </a:lnTo>
                  <a:lnTo>
                    <a:pt x="1405" y="377"/>
                  </a:lnTo>
                  <a:lnTo>
                    <a:pt x="1404" y="368"/>
                  </a:lnTo>
                  <a:lnTo>
                    <a:pt x="1401" y="360"/>
                  </a:lnTo>
                  <a:lnTo>
                    <a:pt x="1399" y="351"/>
                  </a:lnTo>
                  <a:lnTo>
                    <a:pt x="1395" y="342"/>
                  </a:lnTo>
                  <a:lnTo>
                    <a:pt x="1392" y="334"/>
                  </a:lnTo>
                  <a:lnTo>
                    <a:pt x="1388" y="326"/>
                  </a:lnTo>
                  <a:lnTo>
                    <a:pt x="1383" y="318"/>
                  </a:lnTo>
                  <a:lnTo>
                    <a:pt x="1378" y="310"/>
                  </a:lnTo>
                  <a:lnTo>
                    <a:pt x="1372" y="303"/>
                  </a:lnTo>
                  <a:lnTo>
                    <a:pt x="1366" y="295"/>
                  </a:lnTo>
                  <a:lnTo>
                    <a:pt x="1360" y="288"/>
                  </a:lnTo>
                  <a:lnTo>
                    <a:pt x="1353" y="281"/>
                  </a:lnTo>
                  <a:lnTo>
                    <a:pt x="1352" y="280"/>
                  </a:lnTo>
                  <a:lnTo>
                    <a:pt x="1351" y="278"/>
                  </a:lnTo>
                  <a:lnTo>
                    <a:pt x="1350" y="276"/>
                  </a:lnTo>
                  <a:lnTo>
                    <a:pt x="1350" y="274"/>
                  </a:lnTo>
                  <a:lnTo>
                    <a:pt x="1350" y="270"/>
                  </a:lnTo>
                  <a:lnTo>
                    <a:pt x="1353" y="266"/>
                  </a:lnTo>
                  <a:lnTo>
                    <a:pt x="1357" y="262"/>
                  </a:lnTo>
                  <a:lnTo>
                    <a:pt x="1362" y="257"/>
                  </a:lnTo>
                  <a:lnTo>
                    <a:pt x="1367" y="253"/>
                  </a:lnTo>
                  <a:lnTo>
                    <a:pt x="1372" y="249"/>
                  </a:lnTo>
                  <a:lnTo>
                    <a:pt x="1383" y="242"/>
                  </a:lnTo>
                  <a:lnTo>
                    <a:pt x="1388" y="239"/>
                  </a:lnTo>
                  <a:lnTo>
                    <a:pt x="1394" y="236"/>
                  </a:lnTo>
                  <a:lnTo>
                    <a:pt x="1400" y="234"/>
                  </a:lnTo>
                  <a:lnTo>
                    <a:pt x="1406" y="232"/>
                  </a:lnTo>
                  <a:lnTo>
                    <a:pt x="1412" y="230"/>
                  </a:lnTo>
                  <a:lnTo>
                    <a:pt x="1418" y="228"/>
                  </a:lnTo>
                  <a:lnTo>
                    <a:pt x="1424" y="227"/>
                  </a:lnTo>
                  <a:lnTo>
                    <a:pt x="1431" y="226"/>
                  </a:lnTo>
                  <a:lnTo>
                    <a:pt x="1444" y="226"/>
                  </a:lnTo>
                  <a:lnTo>
                    <a:pt x="1452" y="226"/>
                  </a:lnTo>
                  <a:lnTo>
                    <a:pt x="1460" y="227"/>
                  </a:lnTo>
                  <a:lnTo>
                    <a:pt x="1468" y="228"/>
                  </a:lnTo>
                  <a:lnTo>
                    <a:pt x="1476" y="230"/>
                  </a:lnTo>
                  <a:lnTo>
                    <a:pt x="1483" y="232"/>
                  </a:lnTo>
                  <a:lnTo>
                    <a:pt x="1491" y="235"/>
                  </a:lnTo>
                  <a:lnTo>
                    <a:pt x="1498" y="238"/>
                  </a:lnTo>
                  <a:lnTo>
                    <a:pt x="1505" y="242"/>
                  </a:lnTo>
                  <a:lnTo>
                    <a:pt x="1512" y="246"/>
                  </a:lnTo>
                  <a:lnTo>
                    <a:pt x="1518" y="251"/>
                  </a:lnTo>
                  <a:lnTo>
                    <a:pt x="1525" y="256"/>
                  </a:lnTo>
                  <a:lnTo>
                    <a:pt x="1530" y="261"/>
                  </a:lnTo>
                  <a:lnTo>
                    <a:pt x="1536" y="267"/>
                  </a:lnTo>
                  <a:lnTo>
                    <a:pt x="1541" y="273"/>
                  </a:lnTo>
                  <a:lnTo>
                    <a:pt x="1546" y="280"/>
                  </a:lnTo>
                  <a:lnTo>
                    <a:pt x="1550" y="287"/>
                  </a:lnTo>
                  <a:lnTo>
                    <a:pt x="1560" y="275"/>
                  </a:lnTo>
                  <a:lnTo>
                    <a:pt x="1574" y="259"/>
                  </a:lnTo>
                  <a:lnTo>
                    <a:pt x="1582" y="250"/>
                  </a:lnTo>
                  <a:lnTo>
                    <a:pt x="1591" y="241"/>
                  </a:lnTo>
                  <a:lnTo>
                    <a:pt x="1602" y="232"/>
                  </a:lnTo>
                  <a:lnTo>
                    <a:pt x="1613" y="223"/>
                  </a:lnTo>
                  <a:lnTo>
                    <a:pt x="1625" y="214"/>
                  </a:lnTo>
                  <a:lnTo>
                    <a:pt x="1638" y="205"/>
                  </a:lnTo>
                  <a:lnTo>
                    <a:pt x="1651" y="198"/>
                  </a:lnTo>
                  <a:lnTo>
                    <a:pt x="1666" y="191"/>
                  </a:lnTo>
                  <a:lnTo>
                    <a:pt x="1673" y="188"/>
                  </a:lnTo>
                  <a:lnTo>
                    <a:pt x="1681" y="186"/>
                  </a:lnTo>
                  <a:lnTo>
                    <a:pt x="1688" y="183"/>
                  </a:lnTo>
                  <a:lnTo>
                    <a:pt x="1696" y="181"/>
                  </a:lnTo>
                  <a:lnTo>
                    <a:pt x="1704" y="180"/>
                  </a:lnTo>
                  <a:lnTo>
                    <a:pt x="1712" y="179"/>
                  </a:lnTo>
                  <a:lnTo>
                    <a:pt x="1720" y="178"/>
                  </a:lnTo>
                  <a:lnTo>
                    <a:pt x="1729" y="178"/>
                  </a:lnTo>
                  <a:close/>
                  <a:moveTo>
                    <a:pt x="1450" y="807"/>
                  </a:moveTo>
                  <a:lnTo>
                    <a:pt x="1453" y="807"/>
                  </a:lnTo>
                  <a:lnTo>
                    <a:pt x="1455" y="808"/>
                  </a:lnTo>
                  <a:lnTo>
                    <a:pt x="1457" y="810"/>
                  </a:lnTo>
                  <a:lnTo>
                    <a:pt x="1458" y="812"/>
                  </a:lnTo>
                  <a:lnTo>
                    <a:pt x="1459" y="814"/>
                  </a:lnTo>
                  <a:lnTo>
                    <a:pt x="1460" y="816"/>
                  </a:lnTo>
                  <a:lnTo>
                    <a:pt x="1460" y="819"/>
                  </a:lnTo>
                  <a:lnTo>
                    <a:pt x="1459" y="821"/>
                  </a:lnTo>
                  <a:lnTo>
                    <a:pt x="1439" y="885"/>
                  </a:lnTo>
                  <a:lnTo>
                    <a:pt x="1438" y="886"/>
                  </a:lnTo>
                  <a:lnTo>
                    <a:pt x="1437" y="888"/>
                  </a:lnTo>
                  <a:lnTo>
                    <a:pt x="1435" y="890"/>
                  </a:lnTo>
                  <a:lnTo>
                    <a:pt x="1432" y="892"/>
                  </a:lnTo>
                  <a:lnTo>
                    <a:pt x="1428" y="892"/>
                  </a:lnTo>
                  <a:lnTo>
                    <a:pt x="1374" y="887"/>
                  </a:lnTo>
                  <a:lnTo>
                    <a:pt x="1313" y="881"/>
                  </a:lnTo>
                  <a:lnTo>
                    <a:pt x="1245" y="876"/>
                  </a:lnTo>
                  <a:lnTo>
                    <a:pt x="1174" y="871"/>
                  </a:lnTo>
                  <a:lnTo>
                    <a:pt x="1099" y="867"/>
                  </a:lnTo>
                  <a:lnTo>
                    <a:pt x="1023" y="863"/>
                  </a:lnTo>
                  <a:lnTo>
                    <a:pt x="984" y="862"/>
                  </a:lnTo>
                  <a:lnTo>
                    <a:pt x="946" y="861"/>
                  </a:lnTo>
                  <a:lnTo>
                    <a:pt x="871" y="861"/>
                  </a:lnTo>
                  <a:lnTo>
                    <a:pt x="795" y="861"/>
                  </a:lnTo>
                  <a:lnTo>
                    <a:pt x="718" y="863"/>
                  </a:lnTo>
                  <a:lnTo>
                    <a:pt x="641" y="867"/>
                  </a:lnTo>
                  <a:lnTo>
                    <a:pt x="567" y="871"/>
                  </a:lnTo>
                  <a:lnTo>
                    <a:pt x="495" y="876"/>
                  </a:lnTo>
                  <a:lnTo>
                    <a:pt x="428" y="881"/>
                  </a:lnTo>
                  <a:lnTo>
                    <a:pt x="367" y="887"/>
                  </a:lnTo>
                  <a:lnTo>
                    <a:pt x="313" y="892"/>
                  </a:lnTo>
                  <a:lnTo>
                    <a:pt x="309" y="892"/>
                  </a:lnTo>
                  <a:lnTo>
                    <a:pt x="307" y="891"/>
                  </a:lnTo>
                  <a:lnTo>
                    <a:pt x="306" y="890"/>
                  </a:lnTo>
                  <a:lnTo>
                    <a:pt x="303" y="888"/>
                  </a:lnTo>
                  <a:lnTo>
                    <a:pt x="302" y="885"/>
                  </a:lnTo>
                  <a:lnTo>
                    <a:pt x="292" y="854"/>
                  </a:lnTo>
                  <a:lnTo>
                    <a:pt x="281" y="821"/>
                  </a:lnTo>
                  <a:lnTo>
                    <a:pt x="280" y="819"/>
                  </a:lnTo>
                  <a:lnTo>
                    <a:pt x="280" y="816"/>
                  </a:lnTo>
                  <a:lnTo>
                    <a:pt x="282" y="812"/>
                  </a:lnTo>
                  <a:lnTo>
                    <a:pt x="283" y="810"/>
                  </a:lnTo>
                  <a:lnTo>
                    <a:pt x="285" y="808"/>
                  </a:lnTo>
                  <a:lnTo>
                    <a:pt x="287" y="807"/>
                  </a:lnTo>
                  <a:lnTo>
                    <a:pt x="290" y="807"/>
                  </a:lnTo>
                  <a:lnTo>
                    <a:pt x="292" y="806"/>
                  </a:lnTo>
                  <a:lnTo>
                    <a:pt x="335" y="802"/>
                  </a:lnTo>
                  <a:lnTo>
                    <a:pt x="391" y="796"/>
                  </a:lnTo>
                  <a:lnTo>
                    <a:pt x="457" y="790"/>
                  </a:lnTo>
                  <a:lnTo>
                    <a:pt x="531" y="785"/>
                  </a:lnTo>
                  <a:lnTo>
                    <a:pt x="611" y="780"/>
                  </a:lnTo>
                  <a:lnTo>
                    <a:pt x="653" y="778"/>
                  </a:lnTo>
                  <a:lnTo>
                    <a:pt x="696" y="776"/>
                  </a:lnTo>
                  <a:lnTo>
                    <a:pt x="740" y="774"/>
                  </a:lnTo>
                  <a:lnTo>
                    <a:pt x="783" y="773"/>
                  </a:lnTo>
                  <a:lnTo>
                    <a:pt x="827" y="772"/>
                  </a:lnTo>
                  <a:lnTo>
                    <a:pt x="871" y="772"/>
                  </a:lnTo>
                  <a:lnTo>
                    <a:pt x="914" y="772"/>
                  </a:lnTo>
                  <a:lnTo>
                    <a:pt x="958" y="773"/>
                  </a:lnTo>
                  <a:lnTo>
                    <a:pt x="1001" y="774"/>
                  </a:lnTo>
                  <a:lnTo>
                    <a:pt x="1045" y="776"/>
                  </a:lnTo>
                  <a:lnTo>
                    <a:pt x="1129" y="780"/>
                  </a:lnTo>
                  <a:lnTo>
                    <a:pt x="1209" y="785"/>
                  </a:lnTo>
                  <a:lnTo>
                    <a:pt x="1283" y="790"/>
                  </a:lnTo>
                  <a:lnTo>
                    <a:pt x="1349" y="796"/>
                  </a:lnTo>
                  <a:lnTo>
                    <a:pt x="1405" y="802"/>
                  </a:lnTo>
                  <a:lnTo>
                    <a:pt x="1449" y="806"/>
                  </a:lnTo>
                  <a:lnTo>
                    <a:pt x="1450" y="8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7"/>
            <p:cNvSpPr>
              <a:spLocks noEditPoints="1"/>
            </p:cNvSpPr>
            <p:nvPr userDrawn="1"/>
          </p:nvSpPr>
          <p:spPr bwMode="auto">
            <a:xfrm>
              <a:off x="4287838" y="2951163"/>
              <a:ext cx="6440488" cy="1217612"/>
            </a:xfrm>
            <a:custGeom>
              <a:avLst/>
              <a:gdLst>
                <a:gd name="T0" fmla="*/ 3533 w 4057"/>
                <a:gd name="T1" fmla="*/ 11 h 767"/>
                <a:gd name="T2" fmla="*/ 3620 w 4057"/>
                <a:gd name="T3" fmla="*/ 37 h 767"/>
                <a:gd name="T4" fmla="*/ 4033 w 4057"/>
                <a:gd name="T5" fmla="*/ 15 h 767"/>
                <a:gd name="T6" fmla="*/ 4055 w 4057"/>
                <a:gd name="T7" fmla="*/ 724 h 767"/>
                <a:gd name="T8" fmla="*/ 4042 w 4057"/>
                <a:gd name="T9" fmla="*/ 755 h 767"/>
                <a:gd name="T10" fmla="*/ 3620 w 4057"/>
                <a:gd name="T11" fmla="*/ 736 h 767"/>
                <a:gd name="T12" fmla="*/ 3528 w 4057"/>
                <a:gd name="T13" fmla="*/ 756 h 767"/>
                <a:gd name="T14" fmla="*/ 330 w 4057"/>
                <a:gd name="T15" fmla="*/ 10 h 767"/>
                <a:gd name="T16" fmla="*/ 367 w 4057"/>
                <a:gd name="T17" fmla="*/ 4 h 767"/>
                <a:gd name="T18" fmla="*/ 693 w 4057"/>
                <a:gd name="T19" fmla="*/ 754 h 767"/>
                <a:gd name="T20" fmla="*/ 593 w 4057"/>
                <a:gd name="T21" fmla="*/ 744 h 767"/>
                <a:gd name="T22" fmla="*/ 21 w 4057"/>
                <a:gd name="T23" fmla="*/ 757 h 767"/>
                <a:gd name="T24" fmla="*/ 2 w 4057"/>
                <a:gd name="T25" fmla="*/ 729 h 767"/>
                <a:gd name="T26" fmla="*/ 827 w 4057"/>
                <a:gd name="T27" fmla="*/ 13 h 767"/>
                <a:gd name="T28" fmla="*/ 1180 w 4057"/>
                <a:gd name="T29" fmla="*/ 34 h 767"/>
                <a:gd name="T30" fmla="*/ 1281 w 4057"/>
                <a:gd name="T31" fmla="*/ 125 h 767"/>
                <a:gd name="T32" fmla="*/ 1315 w 4057"/>
                <a:gd name="T33" fmla="*/ 258 h 767"/>
                <a:gd name="T34" fmla="*/ 1268 w 4057"/>
                <a:gd name="T35" fmla="*/ 390 h 767"/>
                <a:gd name="T36" fmla="*/ 1159 w 4057"/>
                <a:gd name="T37" fmla="*/ 472 h 767"/>
                <a:gd name="T38" fmla="*/ 920 w 4057"/>
                <a:gd name="T39" fmla="*/ 747 h 767"/>
                <a:gd name="T40" fmla="*/ 816 w 4057"/>
                <a:gd name="T41" fmla="*/ 744 h 767"/>
                <a:gd name="T42" fmla="*/ 1135 w 4057"/>
                <a:gd name="T43" fmla="*/ 366 h 767"/>
                <a:gd name="T44" fmla="*/ 1203 w 4057"/>
                <a:gd name="T45" fmla="*/ 273 h 767"/>
                <a:gd name="T46" fmla="*/ 1189 w 4057"/>
                <a:gd name="T47" fmla="*/ 183 h 767"/>
                <a:gd name="T48" fmla="*/ 1098 w 4057"/>
                <a:gd name="T49" fmla="*/ 120 h 767"/>
                <a:gd name="T50" fmla="*/ 1899 w 4057"/>
                <a:gd name="T51" fmla="*/ 15 h 767"/>
                <a:gd name="T52" fmla="*/ 2058 w 4057"/>
                <a:gd name="T53" fmla="*/ 106 h 767"/>
                <a:gd name="T54" fmla="*/ 2153 w 4057"/>
                <a:gd name="T55" fmla="*/ 252 h 767"/>
                <a:gd name="T56" fmla="*/ 2169 w 4057"/>
                <a:gd name="T57" fmla="*/ 463 h 767"/>
                <a:gd name="T58" fmla="*/ 2089 w 4057"/>
                <a:gd name="T59" fmla="*/ 629 h 767"/>
                <a:gd name="T60" fmla="*/ 1960 w 4057"/>
                <a:gd name="T61" fmla="*/ 730 h 767"/>
                <a:gd name="T62" fmla="*/ 1773 w 4057"/>
                <a:gd name="T63" fmla="*/ 767 h 767"/>
                <a:gd name="T64" fmla="*/ 1578 w 4057"/>
                <a:gd name="T65" fmla="*/ 702 h 767"/>
                <a:gd name="T66" fmla="*/ 1466 w 4057"/>
                <a:gd name="T67" fmla="*/ 584 h 767"/>
                <a:gd name="T68" fmla="*/ 1411 w 4057"/>
                <a:gd name="T69" fmla="*/ 405 h 767"/>
                <a:gd name="T70" fmla="*/ 1448 w 4057"/>
                <a:gd name="T71" fmla="*/ 218 h 767"/>
                <a:gd name="T72" fmla="*/ 1563 w 4057"/>
                <a:gd name="T73" fmla="*/ 76 h 767"/>
                <a:gd name="T74" fmla="*/ 1725 w 4057"/>
                <a:gd name="T75" fmla="*/ 6 h 767"/>
                <a:gd name="T76" fmla="*/ 1888 w 4057"/>
                <a:gd name="T77" fmla="*/ 644 h 767"/>
                <a:gd name="T78" fmla="*/ 2007 w 4057"/>
                <a:gd name="T79" fmla="*/ 561 h 767"/>
                <a:gd name="T80" fmla="*/ 2069 w 4057"/>
                <a:gd name="T81" fmla="*/ 413 h 767"/>
                <a:gd name="T82" fmla="*/ 2037 w 4057"/>
                <a:gd name="T83" fmla="*/ 253 h 767"/>
                <a:gd name="T84" fmla="*/ 1925 w 4057"/>
                <a:gd name="T85" fmla="*/ 141 h 767"/>
                <a:gd name="T86" fmla="*/ 1765 w 4057"/>
                <a:gd name="T87" fmla="*/ 108 h 767"/>
                <a:gd name="T88" fmla="*/ 1618 w 4057"/>
                <a:gd name="T89" fmla="*/ 171 h 767"/>
                <a:gd name="T90" fmla="*/ 1530 w 4057"/>
                <a:gd name="T91" fmla="*/ 304 h 767"/>
                <a:gd name="T92" fmla="*/ 1530 w 4057"/>
                <a:gd name="T93" fmla="*/ 467 h 767"/>
                <a:gd name="T94" fmla="*/ 1618 w 4057"/>
                <a:gd name="T95" fmla="*/ 598 h 767"/>
                <a:gd name="T96" fmla="*/ 1765 w 4057"/>
                <a:gd name="T97" fmla="*/ 659 h 767"/>
                <a:gd name="T98" fmla="*/ 2214 w 4057"/>
                <a:gd name="T99" fmla="*/ 91 h 767"/>
                <a:gd name="T100" fmla="*/ 2736 w 4057"/>
                <a:gd name="T101" fmla="*/ 13 h 767"/>
                <a:gd name="T102" fmla="*/ 2739 w 4057"/>
                <a:gd name="T103" fmla="*/ 107 h 767"/>
                <a:gd name="T104" fmla="*/ 2520 w 4057"/>
                <a:gd name="T105" fmla="*/ 756 h 767"/>
                <a:gd name="T106" fmla="*/ 2885 w 4057"/>
                <a:gd name="T107" fmla="*/ 31 h 767"/>
                <a:gd name="T108" fmla="*/ 3343 w 4057"/>
                <a:gd name="T109" fmla="*/ 15 h 767"/>
                <a:gd name="T110" fmla="*/ 3340 w 4057"/>
                <a:gd name="T111" fmla="*/ 109 h 767"/>
                <a:gd name="T112" fmla="*/ 3298 w 4057"/>
                <a:gd name="T113" fmla="*/ 345 h 767"/>
                <a:gd name="T114" fmla="*/ 2994 w 4057"/>
                <a:gd name="T115" fmla="*/ 658 h 767"/>
                <a:gd name="T116" fmla="*/ 3350 w 4057"/>
                <a:gd name="T117" fmla="*/ 744 h 767"/>
                <a:gd name="T118" fmla="*/ 2888 w 4057"/>
                <a:gd name="T119" fmla="*/ 747 h 7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057" h="767">
                  <a:moveTo>
                    <a:pt x="3508" y="37"/>
                  </a:moveTo>
                  <a:lnTo>
                    <a:pt x="3508" y="31"/>
                  </a:lnTo>
                  <a:lnTo>
                    <a:pt x="3509" y="29"/>
                  </a:lnTo>
                  <a:lnTo>
                    <a:pt x="3509" y="27"/>
                  </a:lnTo>
                  <a:lnTo>
                    <a:pt x="3510" y="25"/>
                  </a:lnTo>
                  <a:lnTo>
                    <a:pt x="3512" y="22"/>
                  </a:lnTo>
                  <a:lnTo>
                    <a:pt x="3515" y="19"/>
                  </a:lnTo>
                  <a:lnTo>
                    <a:pt x="3518" y="15"/>
                  </a:lnTo>
                  <a:lnTo>
                    <a:pt x="3523" y="13"/>
                  </a:lnTo>
                  <a:lnTo>
                    <a:pt x="3525" y="12"/>
                  </a:lnTo>
                  <a:lnTo>
                    <a:pt x="3528" y="12"/>
                  </a:lnTo>
                  <a:lnTo>
                    <a:pt x="3533" y="11"/>
                  </a:lnTo>
                  <a:lnTo>
                    <a:pt x="3595" y="11"/>
                  </a:lnTo>
                  <a:lnTo>
                    <a:pt x="3600" y="12"/>
                  </a:lnTo>
                  <a:lnTo>
                    <a:pt x="3602" y="12"/>
                  </a:lnTo>
                  <a:lnTo>
                    <a:pt x="3605" y="13"/>
                  </a:lnTo>
                  <a:lnTo>
                    <a:pt x="3609" y="15"/>
                  </a:lnTo>
                  <a:lnTo>
                    <a:pt x="3611" y="17"/>
                  </a:lnTo>
                  <a:lnTo>
                    <a:pt x="3613" y="19"/>
                  </a:lnTo>
                  <a:lnTo>
                    <a:pt x="3616" y="22"/>
                  </a:lnTo>
                  <a:lnTo>
                    <a:pt x="3618" y="27"/>
                  </a:lnTo>
                  <a:lnTo>
                    <a:pt x="3619" y="29"/>
                  </a:lnTo>
                  <a:lnTo>
                    <a:pt x="3620" y="31"/>
                  </a:lnTo>
                  <a:lnTo>
                    <a:pt x="3620" y="37"/>
                  </a:lnTo>
                  <a:lnTo>
                    <a:pt x="3620" y="332"/>
                  </a:lnTo>
                  <a:lnTo>
                    <a:pt x="3920" y="22"/>
                  </a:lnTo>
                  <a:lnTo>
                    <a:pt x="3924" y="18"/>
                  </a:lnTo>
                  <a:lnTo>
                    <a:pt x="3929" y="14"/>
                  </a:lnTo>
                  <a:lnTo>
                    <a:pt x="3934" y="12"/>
                  </a:lnTo>
                  <a:lnTo>
                    <a:pt x="3937" y="11"/>
                  </a:lnTo>
                  <a:lnTo>
                    <a:pt x="3940" y="11"/>
                  </a:lnTo>
                  <a:lnTo>
                    <a:pt x="4020" y="11"/>
                  </a:lnTo>
                  <a:lnTo>
                    <a:pt x="4024" y="11"/>
                  </a:lnTo>
                  <a:lnTo>
                    <a:pt x="4027" y="12"/>
                  </a:lnTo>
                  <a:lnTo>
                    <a:pt x="4030" y="13"/>
                  </a:lnTo>
                  <a:lnTo>
                    <a:pt x="4033" y="15"/>
                  </a:lnTo>
                  <a:lnTo>
                    <a:pt x="4035" y="17"/>
                  </a:lnTo>
                  <a:lnTo>
                    <a:pt x="4037" y="19"/>
                  </a:lnTo>
                  <a:lnTo>
                    <a:pt x="4040" y="24"/>
                  </a:lnTo>
                  <a:lnTo>
                    <a:pt x="4042" y="30"/>
                  </a:lnTo>
                  <a:lnTo>
                    <a:pt x="4042" y="33"/>
                  </a:lnTo>
                  <a:lnTo>
                    <a:pt x="4042" y="37"/>
                  </a:lnTo>
                  <a:lnTo>
                    <a:pt x="4039" y="43"/>
                  </a:lnTo>
                  <a:lnTo>
                    <a:pt x="4038" y="46"/>
                  </a:lnTo>
                  <a:lnTo>
                    <a:pt x="4035" y="49"/>
                  </a:lnTo>
                  <a:lnTo>
                    <a:pt x="3728" y="363"/>
                  </a:lnTo>
                  <a:lnTo>
                    <a:pt x="4053" y="721"/>
                  </a:lnTo>
                  <a:lnTo>
                    <a:pt x="4055" y="724"/>
                  </a:lnTo>
                  <a:lnTo>
                    <a:pt x="4056" y="726"/>
                  </a:lnTo>
                  <a:lnTo>
                    <a:pt x="4057" y="731"/>
                  </a:lnTo>
                  <a:lnTo>
                    <a:pt x="4057" y="734"/>
                  </a:lnTo>
                  <a:lnTo>
                    <a:pt x="4057" y="737"/>
                  </a:lnTo>
                  <a:lnTo>
                    <a:pt x="4056" y="740"/>
                  </a:lnTo>
                  <a:lnTo>
                    <a:pt x="4055" y="743"/>
                  </a:lnTo>
                  <a:lnTo>
                    <a:pt x="4054" y="746"/>
                  </a:lnTo>
                  <a:lnTo>
                    <a:pt x="4052" y="748"/>
                  </a:lnTo>
                  <a:lnTo>
                    <a:pt x="4050" y="750"/>
                  </a:lnTo>
                  <a:lnTo>
                    <a:pt x="4048" y="752"/>
                  </a:lnTo>
                  <a:lnTo>
                    <a:pt x="4045" y="754"/>
                  </a:lnTo>
                  <a:lnTo>
                    <a:pt x="4042" y="755"/>
                  </a:lnTo>
                  <a:lnTo>
                    <a:pt x="4038" y="756"/>
                  </a:lnTo>
                  <a:lnTo>
                    <a:pt x="4034" y="756"/>
                  </a:lnTo>
                  <a:lnTo>
                    <a:pt x="3949" y="756"/>
                  </a:lnTo>
                  <a:lnTo>
                    <a:pt x="3945" y="756"/>
                  </a:lnTo>
                  <a:lnTo>
                    <a:pt x="3942" y="756"/>
                  </a:lnTo>
                  <a:lnTo>
                    <a:pt x="3936" y="754"/>
                  </a:lnTo>
                  <a:lnTo>
                    <a:pt x="3934" y="753"/>
                  </a:lnTo>
                  <a:lnTo>
                    <a:pt x="3932" y="752"/>
                  </a:lnTo>
                  <a:lnTo>
                    <a:pt x="3930" y="749"/>
                  </a:lnTo>
                  <a:lnTo>
                    <a:pt x="3620" y="400"/>
                  </a:lnTo>
                  <a:lnTo>
                    <a:pt x="3620" y="731"/>
                  </a:lnTo>
                  <a:lnTo>
                    <a:pt x="3620" y="736"/>
                  </a:lnTo>
                  <a:lnTo>
                    <a:pt x="3619" y="738"/>
                  </a:lnTo>
                  <a:lnTo>
                    <a:pt x="3618" y="741"/>
                  </a:lnTo>
                  <a:lnTo>
                    <a:pt x="3616" y="745"/>
                  </a:lnTo>
                  <a:lnTo>
                    <a:pt x="3614" y="747"/>
                  </a:lnTo>
                  <a:lnTo>
                    <a:pt x="3613" y="749"/>
                  </a:lnTo>
                  <a:lnTo>
                    <a:pt x="3609" y="752"/>
                  </a:lnTo>
                  <a:lnTo>
                    <a:pt x="3605" y="754"/>
                  </a:lnTo>
                  <a:lnTo>
                    <a:pt x="3602" y="755"/>
                  </a:lnTo>
                  <a:lnTo>
                    <a:pt x="3600" y="756"/>
                  </a:lnTo>
                  <a:lnTo>
                    <a:pt x="3595" y="756"/>
                  </a:lnTo>
                  <a:lnTo>
                    <a:pt x="3533" y="756"/>
                  </a:lnTo>
                  <a:lnTo>
                    <a:pt x="3528" y="756"/>
                  </a:lnTo>
                  <a:lnTo>
                    <a:pt x="3523" y="754"/>
                  </a:lnTo>
                  <a:lnTo>
                    <a:pt x="3518" y="752"/>
                  </a:lnTo>
                  <a:lnTo>
                    <a:pt x="3515" y="749"/>
                  </a:lnTo>
                  <a:lnTo>
                    <a:pt x="3512" y="745"/>
                  </a:lnTo>
                  <a:lnTo>
                    <a:pt x="3510" y="743"/>
                  </a:lnTo>
                  <a:lnTo>
                    <a:pt x="3509" y="741"/>
                  </a:lnTo>
                  <a:lnTo>
                    <a:pt x="3508" y="736"/>
                  </a:lnTo>
                  <a:lnTo>
                    <a:pt x="3508" y="731"/>
                  </a:lnTo>
                  <a:lnTo>
                    <a:pt x="3508" y="37"/>
                  </a:lnTo>
                  <a:close/>
                  <a:moveTo>
                    <a:pt x="2" y="729"/>
                  </a:moveTo>
                  <a:lnTo>
                    <a:pt x="329" y="12"/>
                  </a:lnTo>
                  <a:lnTo>
                    <a:pt x="330" y="10"/>
                  </a:lnTo>
                  <a:lnTo>
                    <a:pt x="332" y="8"/>
                  </a:lnTo>
                  <a:lnTo>
                    <a:pt x="335" y="6"/>
                  </a:lnTo>
                  <a:lnTo>
                    <a:pt x="337" y="4"/>
                  </a:lnTo>
                  <a:lnTo>
                    <a:pt x="340" y="2"/>
                  </a:lnTo>
                  <a:lnTo>
                    <a:pt x="342" y="1"/>
                  </a:lnTo>
                  <a:lnTo>
                    <a:pt x="345" y="1"/>
                  </a:lnTo>
                  <a:lnTo>
                    <a:pt x="347" y="0"/>
                  </a:lnTo>
                  <a:lnTo>
                    <a:pt x="358" y="0"/>
                  </a:lnTo>
                  <a:lnTo>
                    <a:pt x="360" y="1"/>
                  </a:lnTo>
                  <a:lnTo>
                    <a:pt x="362" y="1"/>
                  </a:lnTo>
                  <a:lnTo>
                    <a:pt x="365" y="2"/>
                  </a:lnTo>
                  <a:lnTo>
                    <a:pt x="367" y="4"/>
                  </a:lnTo>
                  <a:lnTo>
                    <a:pt x="370" y="6"/>
                  </a:lnTo>
                  <a:lnTo>
                    <a:pt x="372" y="8"/>
                  </a:lnTo>
                  <a:lnTo>
                    <a:pt x="376" y="12"/>
                  </a:lnTo>
                  <a:lnTo>
                    <a:pt x="701" y="729"/>
                  </a:lnTo>
                  <a:lnTo>
                    <a:pt x="703" y="734"/>
                  </a:lnTo>
                  <a:lnTo>
                    <a:pt x="703" y="739"/>
                  </a:lnTo>
                  <a:lnTo>
                    <a:pt x="702" y="744"/>
                  </a:lnTo>
                  <a:lnTo>
                    <a:pt x="702" y="746"/>
                  </a:lnTo>
                  <a:lnTo>
                    <a:pt x="700" y="748"/>
                  </a:lnTo>
                  <a:lnTo>
                    <a:pt x="699" y="750"/>
                  </a:lnTo>
                  <a:lnTo>
                    <a:pt x="697" y="751"/>
                  </a:lnTo>
                  <a:lnTo>
                    <a:pt x="693" y="754"/>
                  </a:lnTo>
                  <a:lnTo>
                    <a:pt x="689" y="756"/>
                  </a:lnTo>
                  <a:lnTo>
                    <a:pt x="686" y="756"/>
                  </a:lnTo>
                  <a:lnTo>
                    <a:pt x="683" y="757"/>
                  </a:lnTo>
                  <a:lnTo>
                    <a:pt x="616" y="757"/>
                  </a:lnTo>
                  <a:lnTo>
                    <a:pt x="611" y="756"/>
                  </a:lnTo>
                  <a:lnTo>
                    <a:pt x="607" y="755"/>
                  </a:lnTo>
                  <a:lnTo>
                    <a:pt x="606" y="755"/>
                  </a:lnTo>
                  <a:lnTo>
                    <a:pt x="604" y="754"/>
                  </a:lnTo>
                  <a:lnTo>
                    <a:pt x="601" y="752"/>
                  </a:lnTo>
                  <a:lnTo>
                    <a:pt x="598" y="750"/>
                  </a:lnTo>
                  <a:lnTo>
                    <a:pt x="595" y="747"/>
                  </a:lnTo>
                  <a:lnTo>
                    <a:pt x="593" y="744"/>
                  </a:lnTo>
                  <a:lnTo>
                    <a:pt x="592" y="741"/>
                  </a:lnTo>
                  <a:lnTo>
                    <a:pt x="526" y="595"/>
                  </a:lnTo>
                  <a:lnTo>
                    <a:pt x="177" y="595"/>
                  </a:lnTo>
                  <a:lnTo>
                    <a:pt x="144" y="668"/>
                  </a:lnTo>
                  <a:lnTo>
                    <a:pt x="112" y="741"/>
                  </a:lnTo>
                  <a:lnTo>
                    <a:pt x="109" y="746"/>
                  </a:lnTo>
                  <a:lnTo>
                    <a:pt x="103" y="751"/>
                  </a:lnTo>
                  <a:lnTo>
                    <a:pt x="100" y="753"/>
                  </a:lnTo>
                  <a:lnTo>
                    <a:pt x="96" y="755"/>
                  </a:lnTo>
                  <a:lnTo>
                    <a:pt x="92" y="756"/>
                  </a:lnTo>
                  <a:lnTo>
                    <a:pt x="88" y="757"/>
                  </a:lnTo>
                  <a:lnTo>
                    <a:pt x="21" y="757"/>
                  </a:lnTo>
                  <a:lnTo>
                    <a:pt x="15" y="756"/>
                  </a:lnTo>
                  <a:lnTo>
                    <a:pt x="10" y="754"/>
                  </a:lnTo>
                  <a:lnTo>
                    <a:pt x="6" y="751"/>
                  </a:lnTo>
                  <a:lnTo>
                    <a:pt x="4" y="750"/>
                  </a:lnTo>
                  <a:lnTo>
                    <a:pt x="3" y="748"/>
                  </a:lnTo>
                  <a:lnTo>
                    <a:pt x="1" y="744"/>
                  </a:lnTo>
                  <a:lnTo>
                    <a:pt x="1" y="741"/>
                  </a:lnTo>
                  <a:lnTo>
                    <a:pt x="0" y="739"/>
                  </a:lnTo>
                  <a:lnTo>
                    <a:pt x="0" y="737"/>
                  </a:lnTo>
                  <a:lnTo>
                    <a:pt x="1" y="734"/>
                  </a:lnTo>
                  <a:lnTo>
                    <a:pt x="1" y="731"/>
                  </a:lnTo>
                  <a:lnTo>
                    <a:pt x="2" y="729"/>
                  </a:lnTo>
                  <a:close/>
                  <a:moveTo>
                    <a:pt x="485" y="503"/>
                  </a:moveTo>
                  <a:lnTo>
                    <a:pt x="353" y="211"/>
                  </a:lnTo>
                  <a:lnTo>
                    <a:pt x="348" y="211"/>
                  </a:lnTo>
                  <a:lnTo>
                    <a:pt x="218" y="503"/>
                  </a:lnTo>
                  <a:lnTo>
                    <a:pt x="485" y="503"/>
                  </a:lnTo>
                  <a:close/>
                  <a:moveTo>
                    <a:pt x="814" y="31"/>
                  </a:moveTo>
                  <a:lnTo>
                    <a:pt x="815" y="27"/>
                  </a:lnTo>
                  <a:lnTo>
                    <a:pt x="816" y="24"/>
                  </a:lnTo>
                  <a:lnTo>
                    <a:pt x="818" y="20"/>
                  </a:lnTo>
                  <a:lnTo>
                    <a:pt x="820" y="17"/>
                  </a:lnTo>
                  <a:lnTo>
                    <a:pt x="823" y="15"/>
                  </a:lnTo>
                  <a:lnTo>
                    <a:pt x="827" y="13"/>
                  </a:lnTo>
                  <a:lnTo>
                    <a:pt x="830" y="11"/>
                  </a:lnTo>
                  <a:lnTo>
                    <a:pt x="835" y="11"/>
                  </a:lnTo>
                  <a:lnTo>
                    <a:pt x="1077" y="11"/>
                  </a:lnTo>
                  <a:lnTo>
                    <a:pt x="1089" y="11"/>
                  </a:lnTo>
                  <a:lnTo>
                    <a:pt x="1101" y="12"/>
                  </a:lnTo>
                  <a:lnTo>
                    <a:pt x="1113" y="14"/>
                  </a:lnTo>
                  <a:lnTo>
                    <a:pt x="1125" y="16"/>
                  </a:lnTo>
                  <a:lnTo>
                    <a:pt x="1136" y="19"/>
                  </a:lnTo>
                  <a:lnTo>
                    <a:pt x="1148" y="22"/>
                  </a:lnTo>
                  <a:lnTo>
                    <a:pt x="1159" y="25"/>
                  </a:lnTo>
                  <a:lnTo>
                    <a:pt x="1170" y="30"/>
                  </a:lnTo>
                  <a:lnTo>
                    <a:pt x="1180" y="34"/>
                  </a:lnTo>
                  <a:lnTo>
                    <a:pt x="1190" y="40"/>
                  </a:lnTo>
                  <a:lnTo>
                    <a:pt x="1200" y="45"/>
                  </a:lnTo>
                  <a:lnTo>
                    <a:pt x="1210" y="51"/>
                  </a:lnTo>
                  <a:lnTo>
                    <a:pt x="1219" y="58"/>
                  </a:lnTo>
                  <a:lnTo>
                    <a:pt x="1228" y="65"/>
                  </a:lnTo>
                  <a:lnTo>
                    <a:pt x="1237" y="72"/>
                  </a:lnTo>
                  <a:lnTo>
                    <a:pt x="1245" y="80"/>
                  </a:lnTo>
                  <a:lnTo>
                    <a:pt x="1253" y="88"/>
                  </a:lnTo>
                  <a:lnTo>
                    <a:pt x="1261" y="97"/>
                  </a:lnTo>
                  <a:lnTo>
                    <a:pt x="1268" y="106"/>
                  </a:lnTo>
                  <a:lnTo>
                    <a:pt x="1275" y="115"/>
                  </a:lnTo>
                  <a:lnTo>
                    <a:pt x="1281" y="125"/>
                  </a:lnTo>
                  <a:lnTo>
                    <a:pt x="1286" y="135"/>
                  </a:lnTo>
                  <a:lnTo>
                    <a:pt x="1292" y="145"/>
                  </a:lnTo>
                  <a:lnTo>
                    <a:pt x="1297" y="155"/>
                  </a:lnTo>
                  <a:lnTo>
                    <a:pt x="1301" y="166"/>
                  </a:lnTo>
                  <a:lnTo>
                    <a:pt x="1305" y="177"/>
                  </a:lnTo>
                  <a:lnTo>
                    <a:pt x="1308" y="188"/>
                  </a:lnTo>
                  <a:lnTo>
                    <a:pt x="1311" y="199"/>
                  </a:lnTo>
                  <a:lnTo>
                    <a:pt x="1313" y="211"/>
                  </a:lnTo>
                  <a:lnTo>
                    <a:pt x="1314" y="222"/>
                  </a:lnTo>
                  <a:lnTo>
                    <a:pt x="1315" y="234"/>
                  </a:lnTo>
                  <a:lnTo>
                    <a:pt x="1315" y="246"/>
                  </a:lnTo>
                  <a:lnTo>
                    <a:pt x="1315" y="258"/>
                  </a:lnTo>
                  <a:lnTo>
                    <a:pt x="1314" y="270"/>
                  </a:lnTo>
                  <a:lnTo>
                    <a:pt x="1313" y="282"/>
                  </a:lnTo>
                  <a:lnTo>
                    <a:pt x="1311" y="294"/>
                  </a:lnTo>
                  <a:lnTo>
                    <a:pt x="1308" y="307"/>
                  </a:lnTo>
                  <a:lnTo>
                    <a:pt x="1305" y="318"/>
                  </a:lnTo>
                  <a:lnTo>
                    <a:pt x="1301" y="329"/>
                  </a:lnTo>
                  <a:lnTo>
                    <a:pt x="1297" y="340"/>
                  </a:lnTo>
                  <a:lnTo>
                    <a:pt x="1292" y="351"/>
                  </a:lnTo>
                  <a:lnTo>
                    <a:pt x="1287" y="361"/>
                  </a:lnTo>
                  <a:lnTo>
                    <a:pt x="1281" y="371"/>
                  </a:lnTo>
                  <a:lnTo>
                    <a:pt x="1275" y="381"/>
                  </a:lnTo>
                  <a:lnTo>
                    <a:pt x="1268" y="390"/>
                  </a:lnTo>
                  <a:lnTo>
                    <a:pt x="1261" y="399"/>
                  </a:lnTo>
                  <a:lnTo>
                    <a:pt x="1253" y="408"/>
                  </a:lnTo>
                  <a:lnTo>
                    <a:pt x="1245" y="416"/>
                  </a:lnTo>
                  <a:lnTo>
                    <a:pt x="1237" y="424"/>
                  </a:lnTo>
                  <a:lnTo>
                    <a:pt x="1229" y="432"/>
                  </a:lnTo>
                  <a:lnTo>
                    <a:pt x="1220" y="439"/>
                  </a:lnTo>
                  <a:lnTo>
                    <a:pt x="1210" y="445"/>
                  </a:lnTo>
                  <a:lnTo>
                    <a:pt x="1201" y="452"/>
                  </a:lnTo>
                  <a:lnTo>
                    <a:pt x="1191" y="457"/>
                  </a:lnTo>
                  <a:lnTo>
                    <a:pt x="1180" y="463"/>
                  </a:lnTo>
                  <a:lnTo>
                    <a:pt x="1170" y="468"/>
                  </a:lnTo>
                  <a:lnTo>
                    <a:pt x="1159" y="472"/>
                  </a:lnTo>
                  <a:lnTo>
                    <a:pt x="1148" y="476"/>
                  </a:lnTo>
                  <a:lnTo>
                    <a:pt x="1137" y="479"/>
                  </a:lnTo>
                  <a:lnTo>
                    <a:pt x="1126" y="481"/>
                  </a:lnTo>
                  <a:lnTo>
                    <a:pt x="1114" y="484"/>
                  </a:lnTo>
                  <a:lnTo>
                    <a:pt x="1102" y="485"/>
                  </a:lnTo>
                  <a:lnTo>
                    <a:pt x="1090" y="486"/>
                  </a:lnTo>
                  <a:lnTo>
                    <a:pt x="1078" y="486"/>
                  </a:lnTo>
                  <a:lnTo>
                    <a:pt x="924" y="486"/>
                  </a:lnTo>
                  <a:lnTo>
                    <a:pt x="924" y="736"/>
                  </a:lnTo>
                  <a:lnTo>
                    <a:pt x="924" y="740"/>
                  </a:lnTo>
                  <a:lnTo>
                    <a:pt x="922" y="744"/>
                  </a:lnTo>
                  <a:lnTo>
                    <a:pt x="920" y="747"/>
                  </a:lnTo>
                  <a:lnTo>
                    <a:pt x="918" y="750"/>
                  </a:lnTo>
                  <a:lnTo>
                    <a:pt x="915" y="753"/>
                  </a:lnTo>
                  <a:lnTo>
                    <a:pt x="911" y="755"/>
                  </a:lnTo>
                  <a:lnTo>
                    <a:pt x="908" y="756"/>
                  </a:lnTo>
                  <a:lnTo>
                    <a:pt x="904" y="756"/>
                  </a:lnTo>
                  <a:lnTo>
                    <a:pt x="835" y="756"/>
                  </a:lnTo>
                  <a:lnTo>
                    <a:pt x="830" y="756"/>
                  </a:lnTo>
                  <a:lnTo>
                    <a:pt x="827" y="755"/>
                  </a:lnTo>
                  <a:lnTo>
                    <a:pt x="823" y="753"/>
                  </a:lnTo>
                  <a:lnTo>
                    <a:pt x="820" y="750"/>
                  </a:lnTo>
                  <a:lnTo>
                    <a:pt x="818" y="747"/>
                  </a:lnTo>
                  <a:lnTo>
                    <a:pt x="816" y="744"/>
                  </a:lnTo>
                  <a:lnTo>
                    <a:pt x="815" y="740"/>
                  </a:lnTo>
                  <a:lnTo>
                    <a:pt x="814" y="736"/>
                  </a:lnTo>
                  <a:lnTo>
                    <a:pt x="814" y="31"/>
                  </a:lnTo>
                  <a:close/>
                  <a:moveTo>
                    <a:pt x="1071" y="382"/>
                  </a:moveTo>
                  <a:lnTo>
                    <a:pt x="1078" y="382"/>
                  </a:lnTo>
                  <a:lnTo>
                    <a:pt x="1084" y="381"/>
                  </a:lnTo>
                  <a:lnTo>
                    <a:pt x="1098" y="379"/>
                  </a:lnTo>
                  <a:lnTo>
                    <a:pt x="1110" y="376"/>
                  </a:lnTo>
                  <a:lnTo>
                    <a:pt x="1117" y="374"/>
                  </a:lnTo>
                  <a:lnTo>
                    <a:pt x="1123" y="372"/>
                  </a:lnTo>
                  <a:lnTo>
                    <a:pt x="1129" y="369"/>
                  </a:lnTo>
                  <a:lnTo>
                    <a:pt x="1135" y="366"/>
                  </a:lnTo>
                  <a:lnTo>
                    <a:pt x="1146" y="359"/>
                  </a:lnTo>
                  <a:lnTo>
                    <a:pt x="1156" y="351"/>
                  </a:lnTo>
                  <a:lnTo>
                    <a:pt x="1166" y="343"/>
                  </a:lnTo>
                  <a:lnTo>
                    <a:pt x="1175" y="333"/>
                  </a:lnTo>
                  <a:lnTo>
                    <a:pt x="1179" y="328"/>
                  </a:lnTo>
                  <a:lnTo>
                    <a:pt x="1182" y="323"/>
                  </a:lnTo>
                  <a:lnTo>
                    <a:pt x="1186" y="317"/>
                  </a:lnTo>
                  <a:lnTo>
                    <a:pt x="1189" y="312"/>
                  </a:lnTo>
                  <a:lnTo>
                    <a:pt x="1195" y="299"/>
                  </a:lnTo>
                  <a:lnTo>
                    <a:pt x="1198" y="292"/>
                  </a:lnTo>
                  <a:lnTo>
                    <a:pt x="1200" y="286"/>
                  </a:lnTo>
                  <a:lnTo>
                    <a:pt x="1203" y="273"/>
                  </a:lnTo>
                  <a:lnTo>
                    <a:pt x="1204" y="266"/>
                  </a:lnTo>
                  <a:lnTo>
                    <a:pt x="1205" y="263"/>
                  </a:lnTo>
                  <a:lnTo>
                    <a:pt x="1205" y="259"/>
                  </a:lnTo>
                  <a:lnTo>
                    <a:pt x="1206" y="252"/>
                  </a:lnTo>
                  <a:lnTo>
                    <a:pt x="1206" y="245"/>
                  </a:lnTo>
                  <a:lnTo>
                    <a:pt x="1206" y="238"/>
                  </a:lnTo>
                  <a:lnTo>
                    <a:pt x="1205" y="232"/>
                  </a:lnTo>
                  <a:lnTo>
                    <a:pt x="1203" y="219"/>
                  </a:lnTo>
                  <a:lnTo>
                    <a:pt x="1202" y="213"/>
                  </a:lnTo>
                  <a:lnTo>
                    <a:pt x="1200" y="206"/>
                  </a:lnTo>
                  <a:lnTo>
                    <a:pt x="1195" y="195"/>
                  </a:lnTo>
                  <a:lnTo>
                    <a:pt x="1189" y="183"/>
                  </a:lnTo>
                  <a:lnTo>
                    <a:pt x="1182" y="173"/>
                  </a:lnTo>
                  <a:lnTo>
                    <a:pt x="1179" y="168"/>
                  </a:lnTo>
                  <a:lnTo>
                    <a:pt x="1175" y="163"/>
                  </a:lnTo>
                  <a:lnTo>
                    <a:pt x="1170" y="158"/>
                  </a:lnTo>
                  <a:lnTo>
                    <a:pt x="1166" y="154"/>
                  </a:lnTo>
                  <a:lnTo>
                    <a:pt x="1156" y="146"/>
                  </a:lnTo>
                  <a:lnTo>
                    <a:pt x="1146" y="139"/>
                  </a:lnTo>
                  <a:lnTo>
                    <a:pt x="1135" y="132"/>
                  </a:lnTo>
                  <a:lnTo>
                    <a:pt x="1129" y="130"/>
                  </a:lnTo>
                  <a:lnTo>
                    <a:pt x="1123" y="127"/>
                  </a:lnTo>
                  <a:lnTo>
                    <a:pt x="1110" y="123"/>
                  </a:lnTo>
                  <a:lnTo>
                    <a:pt x="1098" y="120"/>
                  </a:lnTo>
                  <a:lnTo>
                    <a:pt x="1084" y="118"/>
                  </a:lnTo>
                  <a:lnTo>
                    <a:pt x="1071" y="117"/>
                  </a:lnTo>
                  <a:lnTo>
                    <a:pt x="924" y="117"/>
                  </a:lnTo>
                  <a:lnTo>
                    <a:pt x="924" y="382"/>
                  </a:lnTo>
                  <a:lnTo>
                    <a:pt x="1071" y="382"/>
                  </a:lnTo>
                  <a:close/>
                  <a:moveTo>
                    <a:pt x="1793" y="0"/>
                  </a:moveTo>
                  <a:lnTo>
                    <a:pt x="1812" y="1"/>
                  </a:lnTo>
                  <a:lnTo>
                    <a:pt x="1832" y="2"/>
                  </a:lnTo>
                  <a:lnTo>
                    <a:pt x="1851" y="5"/>
                  </a:lnTo>
                  <a:lnTo>
                    <a:pt x="1871" y="8"/>
                  </a:lnTo>
                  <a:lnTo>
                    <a:pt x="1890" y="12"/>
                  </a:lnTo>
                  <a:lnTo>
                    <a:pt x="1899" y="15"/>
                  </a:lnTo>
                  <a:lnTo>
                    <a:pt x="1908" y="18"/>
                  </a:lnTo>
                  <a:lnTo>
                    <a:pt x="1917" y="20"/>
                  </a:lnTo>
                  <a:lnTo>
                    <a:pt x="1926" y="24"/>
                  </a:lnTo>
                  <a:lnTo>
                    <a:pt x="1943" y="30"/>
                  </a:lnTo>
                  <a:lnTo>
                    <a:pt x="1960" y="38"/>
                  </a:lnTo>
                  <a:lnTo>
                    <a:pt x="1977" y="47"/>
                  </a:lnTo>
                  <a:lnTo>
                    <a:pt x="1993" y="56"/>
                  </a:lnTo>
                  <a:lnTo>
                    <a:pt x="2008" y="66"/>
                  </a:lnTo>
                  <a:lnTo>
                    <a:pt x="2023" y="76"/>
                  </a:lnTo>
                  <a:lnTo>
                    <a:pt x="2038" y="88"/>
                  </a:lnTo>
                  <a:lnTo>
                    <a:pt x="2052" y="100"/>
                  </a:lnTo>
                  <a:lnTo>
                    <a:pt x="2058" y="106"/>
                  </a:lnTo>
                  <a:lnTo>
                    <a:pt x="2065" y="113"/>
                  </a:lnTo>
                  <a:lnTo>
                    <a:pt x="2077" y="126"/>
                  </a:lnTo>
                  <a:lnTo>
                    <a:pt x="2089" y="140"/>
                  </a:lnTo>
                  <a:lnTo>
                    <a:pt x="2095" y="147"/>
                  </a:lnTo>
                  <a:lnTo>
                    <a:pt x="2101" y="154"/>
                  </a:lnTo>
                  <a:lnTo>
                    <a:pt x="2111" y="169"/>
                  </a:lnTo>
                  <a:lnTo>
                    <a:pt x="2121" y="185"/>
                  </a:lnTo>
                  <a:lnTo>
                    <a:pt x="2131" y="201"/>
                  </a:lnTo>
                  <a:lnTo>
                    <a:pt x="2139" y="218"/>
                  </a:lnTo>
                  <a:lnTo>
                    <a:pt x="2147" y="235"/>
                  </a:lnTo>
                  <a:lnTo>
                    <a:pt x="2150" y="243"/>
                  </a:lnTo>
                  <a:lnTo>
                    <a:pt x="2153" y="252"/>
                  </a:lnTo>
                  <a:lnTo>
                    <a:pt x="2159" y="270"/>
                  </a:lnTo>
                  <a:lnTo>
                    <a:pt x="2165" y="288"/>
                  </a:lnTo>
                  <a:lnTo>
                    <a:pt x="2169" y="308"/>
                  </a:lnTo>
                  <a:lnTo>
                    <a:pt x="2171" y="317"/>
                  </a:lnTo>
                  <a:lnTo>
                    <a:pt x="2172" y="327"/>
                  </a:lnTo>
                  <a:lnTo>
                    <a:pt x="2175" y="346"/>
                  </a:lnTo>
                  <a:lnTo>
                    <a:pt x="2176" y="366"/>
                  </a:lnTo>
                  <a:lnTo>
                    <a:pt x="2177" y="385"/>
                  </a:lnTo>
                  <a:lnTo>
                    <a:pt x="2176" y="405"/>
                  </a:lnTo>
                  <a:lnTo>
                    <a:pt x="2175" y="425"/>
                  </a:lnTo>
                  <a:lnTo>
                    <a:pt x="2172" y="444"/>
                  </a:lnTo>
                  <a:lnTo>
                    <a:pt x="2169" y="463"/>
                  </a:lnTo>
                  <a:lnTo>
                    <a:pt x="2165" y="481"/>
                  </a:lnTo>
                  <a:lnTo>
                    <a:pt x="2162" y="491"/>
                  </a:lnTo>
                  <a:lnTo>
                    <a:pt x="2159" y="500"/>
                  </a:lnTo>
                  <a:lnTo>
                    <a:pt x="2157" y="509"/>
                  </a:lnTo>
                  <a:lnTo>
                    <a:pt x="2153" y="517"/>
                  </a:lnTo>
                  <a:lnTo>
                    <a:pt x="2147" y="535"/>
                  </a:lnTo>
                  <a:lnTo>
                    <a:pt x="2139" y="552"/>
                  </a:lnTo>
                  <a:lnTo>
                    <a:pt x="2131" y="568"/>
                  </a:lnTo>
                  <a:lnTo>
                    <a:pt x="2121" y="584"/>
                  </a:lnTo>
                  <a:lnTo>
                    <a:pt x="2111" y="600"/>
                  </a:lnTo>
                  <a:lnTo>
                    <a:pt x="2101" y="615"/>
                  </a:lnTo>
                  <a:lnTo>
                    <a:pt x="2089" y="629"/>
                  </a:lnTo>
                  <a:lnTo>
                    <a:pt x="2077" y="643"/>
                  </a:lnTo>
                  <a:lnTo>
                    <a:pt x="2071" y="649"/>
                  </a:lnTo>
                  <a:lnTo>
                    <a:pt x="2065" y="656"/>
                  </a:lnTo>
                  <a:lnTo>
                    <a:pt x="2052" y="669"/>
                  </a:lnTo>
                  <a:lnTo>
                    <a:pt x="2038" y="681"/>
                  </a:lnTo>
                  <a:lnTo>
                    <a:pt x="2031" y="686"/>
                  </a:lnTo>
                  <a:lnTo>
                    <a:pt x="2023" y="692"/>
                  </a:lnTo>
                  <a:lnTo>
                    <a:pt x="2008" y="702"/>
                  </a:lnTo>
                  <a:lnTo>
                    <a:pt x="2001" y="707"/>
                  </a:lnTo>
                  <a:lnTo>
                    <a:pt x="1993" y="712"/>
                  </a:lnTo>
                  <a:lnTo>
                    <a:pt x="1977" y="721"/>
                  </a:lnTo>
                  <a:lnTo>
                    <a:pt x="1960" y="730"/>
                  </a:lnTo>
                  <a:lnTo>
                    <a:pt x="1952" y="734"/>
                  </a:lnTo>
                  <a:lnTo>
                    <a:pt x="1943" y="737"/>
                  </a:lnTo>
                  <a:lnTo>
                    <a:pt x="1935" y="741"/>
                  </a:lnTo>
                  <a:lnTo>
                    <a:pt x="1926" y="744"/>
                  </a:lnTo>
                  <a:lnTo>
                    <a:pt x="1908" y="750"/>
                  </a:lnTo>
                  <a:lnTo>
                    <a:pt x="1890" y="755"/>
                  </a:lnTo>
                  <a:lnTo>
                    <a:pt x="1871" y="759"/>
                  </a:lnTo>
                  <a:lnTo>
                    <a:pt x="1851" y="763"/>
                  </a:lnTo>
                  <a:lnTo>
                    <a:pt x="1832" y="765"/>
                  </a:lnTo>
                  <a:lnTo>
                    <a:pt x="1812" y="767"/>
                  </a:lnTo>
                  <a:lnTo>
                    <a:pt x="1793" y="767"/>
                  </a:lnTo>
                  <a:lnTo>
                    <a:pt x="1773" y="767"/>
                  </a:lnTo>
                  <a:lnTo>
                    <a:pt x="1753" y="765"/>
                  </a:lnTo>
                  <a:lnTo>
                    <a:pt x="1734" y="763"/>
                  </a:lnTo>
                  <a:lnTo>
                    <a:pt x="1715" y="759"/>
                  </a:lnTo>
                  <a:lnTo>
                    <a:pt x="1697" y="755"/>
                  </a:lnTo>
                  <a:lnTo>
                    <a:pt x="1678" y="750"/>
                  </a:lnTo>
                  <a:lnTo>
                    <a:pt x="1669" y="747"/>
                  </a:lnTo>
                  <a:lnTo>
                    <a:pt x="1661" y="744"/>
                  </a:lnTo>
                  <a:lnTo>
                    <a:pt x="1643" y="737"/>
                  </a:lnTo>
                  <a:lnTo>
                    <a:pt x="1626" y="730"/>
                  </a:lnTo>
                  <a:lnTo>
                    <a:pt x="1610" y="721"/>
                  </a:lnTo>
                  <a:lnTo>
                    <a:pt x="1594" y="712"/>
                  </a:lnTo>
                  <a:lnTo>
                    <a:pt x="1578" y="702"/>
                  </a:lnTo>
                  <a:lnTo>
                    <a:pt x="1563" y="692"/>
                  </a:lnTo>
                  <a:lnTo>
                    <a:pt x="1549" y="681"/>
                  </a:lnTo>
                  <a:lnTo>
                    <a:pt x="1542" y="675"/>
                  </a:lnTo>
                  <a:lnTo>
                    <a:pt x="1535" y="669"/>
                  </a:lnTo>
                  <a:lnTo>
                    <a:pt x="1522" y="656"/>
                  </a:lnTo>
                  <a:lnTo>
                    <a:pt x="1509" y="643"/>
                  </a:lnTo>
                  <a:lnTo>
                    <a:pt x="1497" y="629"/>
                  </a:lnTo>
                  <a:lnTo>
                    <a:pt x="1492" y="622"/>
                  </a:lnTo>
                  <a:lnTo>
                    <a:pt x="1486" y="615"/>
                  </a:lnTo>
                  <a:lnTo>
                    <a:pt x="1476" y="600"/>
                  </a:lnTo>
                  <a:lnTo>
                    <a:pt x="1471" y="592"/>
                  </a:lnTo>
                  <a:lnTo>
                    <a:pt x="1466" y="584"/>
                  </a:lnTo>
                  <a:lnTo>
                    <a:pt x="1457" y="568"/>
                  </a:lnTo>
                  <a:lnTo>
                    <a:pt x="1448" y="552"/>
                  </a:lnTo>
                  <a:lnTo>
                    <a:pt x="1444" y="543"/>
                  </a:lnTo>
                  <a:lnTo>
                    <a:pt x="1441" y="535"/>
                  </a:lnTo>
                  <a:lnTo>
                    <a:pt x="1437" y="526"/>
                  </a:lnTo>
                  <a:lnTo>
                    <a:pt x="1434" y="517"/>
                  </a:lnTo>
                  <a:lnTo>
                    <a:pt x="1428" y="500"/>
                  </a:lnTo>
                  <a:lnTo>
                    <a:pt x="1423" y="481"/>
                  </a:lnTo>
                  <a:lnTo>
                    <a:pt x="1419" y="463"/>
                  </a:lnTo>
                  <a:lnTo>
                    <a:pt x="1415" y="444"/>
                  </a:lnTo>
                  <a:lnTo>
                    <a:pt x="1413" y="425"/>
                  </a:lnTo>
                  <a:lnTo>
                    <a:pt x="1411" y="405"/>
                  </a:lnTo>
                  <a:lnTo>
                    <a:pt x="1411" y="385"/>
                  </a:lnTo>
                  <a:lnTo>
                    <a:pt x="1411" y="366"/>
                  </a:lnTo>
                  <a:lnTo>
                    <a:pt x="1413" y="346"/>
                  </a:lnTo>
                  <a:lnTo>
                    <a:pt x="1415" y="327"/>
                  </a:lnTo>
                  <a:lnTo>
                    <a:pt x="1419" y="308"/>
                  </a:lnTo>
                  <a:lnTo>
                    <a:pt x="1423" y="288"/>
                  </a:lnTo>
                  <a:lnTo>
                    <a:pt x="1428" y="270"/>
                  </a:lnTo>
                  <a:lnTo>
                    <a:pt x="1431" y="261"/>
                  </a:lnTo>
                  <a:lnTo>
                    <a:pt x="1434" y="252"/>
                  </a:lnTo>
                  <a:lnTo>
                    <a:pt x="1437" y="243"/>
                  </a:lnTo>
                  <a:lnTo>
                    <a:pt x="1441" y="235"/>
                  </a:lnTo>
                  <a:lnTo>
                    <a:pt x="1448" y="218"/>
                  </a:lnTo>
                  <a:lnTo>
                    <a:pt x="1457" y="201"/>
                  </a:lnTo>
                  <a:lnTo>
                    <a:pt x="1466" y="185"/>
                  </a:lnTo>
                  <a:lnTo>
                    <a:pt x="1476" y="169"/>
                  </a:lnTo>
                  <a:lnTo>
                    <a:pt x="1486" y="154"/>
                  </a:lnTo>
                  <a:lnTo>
                    <a:pt x="1497" y="140"/>
                  </a:lnTo>
                  <a:lnTo>
                    <a:pt x="1503" y="133"/>
                  </a:lnTo>
                  <a:lnTo>
                    <a:pt x="1509" y="126"/>
                  </a:lnTo>
                  <a:lnTo>
                    <a:pt x="1522" y="113"/>
                  </a:lnTo>
                  <a:lnTo>
                    <a:pt x="1535" y="100"/>
                  </a:lnTo>
                  <a:lnTo>
                    <a:pt x="1542" y="94"/>
                  </a:lnTo>
                  <a:lnTo>
                    <a:pt x="1549" y="88"/>
                  </a:lnTo>
                  <a:lnTo>
                    <a:pt x="1563" y="76"/>
                  </a:lnTo>
                  <a:lnTo>
                    <a:pt x="1578" y="66"/>
                  </a:lnTo>
                  <a:lnTo>
                    <a:pt x="1594" y="56"/>
                  </a:lnTo>
                  <a:lnTo>
                    <a:pt x="1610" y="47"/>
                  </a:lnTo>
                  <a:lnTo>
                    <a:pt x="1626" y="38"/>
                  </a:lnTo>
                  <a:lnTo>
                    <a:pt x="1643" y="30"/>
                  </a:lnTo>
                  <a:lnTo>
                    <a:pt x="1652" y="27"/>
                  </a:lnTo>
                  <a:lnTo>
                    <a:pt x="1661" y="24"/>
                  </a:lnTo>
                  <a:lnTo>
                    <a:pt x="1669" y="20"/>
                  </a:lnTo>
                  <a:lnTo>
                    <a:pt x="1678" y="18"/>
                  </a:lnTo>
                  <a:lnTo>
                    <a:pt x="1697" y="12"/>
                  </a:lnTo>
                  <a:lnTo>
                    <a:pt x="1715" y="8"/>
                  </a:lnTo>
                  <a:lnTo>
                    <a:pt x="1725" y="6"/>
                  </a:lnTo>
                  <a:lnTo>
                    <a:pt x="1734" y="5"/>
                  </a:lnTo>
                  <a:lnTo>
                    <a:pt x="1753" y="2"/>
                  </a:lnTo>
                  <a:lnTo>
                    <a:pt x="1773" y="1"/>
                  </a:lnTo>
                  <a:lnTo>
                    <a:pt x="1793" y="0"/>
                  </a:lnTo>
                  <a:close/>
                  <a:moveTo>
                    <a:pt x="1793" y="661"/>
                  </a:moveTo>
                  <a:lnTo>
                    <a:pt x="1807" y="660"/>
                  </a:lnTo>
                  <a:lnTo>
                    <a:pt x="1821" y="659"/>
                  </a:lnTo>
                  <a:lnTo>
                    <a:pt x="1835" y="658"/>
                  </a:lnTo>
                  <a:lnTo>
                    <a:pt x="1848" y="655"/>
                  </a:lnTo>
                  <a:lnTo>
                    <a:pt x="1862" y="652"/>
                  </a:lnTo>
                  <a:lnTo>
                    <a:pt x="1876" y="648"/>
                  </a:lnTo>
                  <a:lnTo>
                    <a:pt x="1888" y="644"/>
                  </a:lnTo>
                  <a:lnTo>
                    <a:pt x="1901" y="639"/>
                  </a:lnTo>
                  <a:lnTo>
                    <a:pt x="1913" y="634"/>
                  </a:lnTo>
                  <a:lnTo>
                    <a:pt x="1925" y="628"/>
                  </a:lnTo>
                  <a:lnTo>
                    <a:pt x="1931" y="624"/>
                  </a:lnTo>
                  <a:lnTo>
                    <a:pt x="1937" y="621"/>
                  </a:lnTo>
                  <a:lnTo>
                    <a:pt x="1948" y="614"/>
                  </a:lnTo>
                  <a:lnTo>
                    <a:pt x="1959" y="606"/>
                  </a:lnTo>
                  <a:lnTo>
                    <a:pt x="1969" y="598"/>
                  </a:lnTo>
                  <a:lnTo>
                    <a:pt x="1979" y="589"/>
                  </a:lnTo>
                  <a:lnTo>
                    <a:pt x="1989" y="580"/>
                  </a:lnTo>
                  <a:lnTo>
                    <a:pt x="1998" y="571"/>
                  </a:lnTo>
                  <a:lnTo>
                    <a:pt x="2007" y="561"/>
                  </a:lnTo>
                  <a:lnTo>
                    <a:pt x="2015" y="550"/>
                  </a:lnTo>
                  <a:lnTo>
                    <a:pt x="2023" y="539"/>
                  </a:lnTo>
                  <a:lnTo>
                    <a:pt x="2030" y="528"/>
                  </a:lnTo>
                  <a:lnTo>
                    <a:pt x="2037" y="517"/>
                  </a:lnTo>
                  <a:lnTo>
                    <a:pt x="2043" y="505"/>
                  </a:lnTo>
                  <a:lnTo>
                    <a:pt x="2048" y="493"/>
                  </a:lnTo>
                  <a:lnTo>
                    <a:pt x="2053" y="480"/>
                  </a:lnTo>
                  <a:lnTo>
                    <a:pt x="2058" y="467"/>
                  </a:lnTo>
                  <a:lnTo>
                    <a:pt x="2061" y="454"/>
                  </a:lnTo>
                  <a:lnTo>
                    <a:pt x="2065" y="441"/>
                  </a:lnTo>
                  <a:lnTo>
                    <a:pt x="2067" y="427"/>
                  </a:lnTo>
                  <a:lnTo>
                    <a:pt x="2069" y="413"/>
                  </a:lnTo>
                  <a:lnTo>
                    <a:pt x="2070" y="399"/>
                  </a:lnTo>
                  <a:lnTo>
                    <a:pt x="2070" y="385"/>
                  </a:lnTo>
                  <a:lnTo>
                    <a:pt x="2070" y="371"/>
                  </a:lnTo>
                  <a:lnTo>
                    <a:pt x="2069" y="357"/>
                  </a:lnTo>
                  <a:lnTo>
                    <a:pt x="2067" y="344"/>
                  </a:lnTo>
                  <a:lnTo>
                    <a:pt x="2065" y="330"/>
                  </a:lnTo>
                  <a:lnTo>
                    <a:pt x="2061" y="317"/>
                  </a:lnTo>
                  <a:lnTo>
                    <a:pt x="2058" y="304"/>
                  </a:lnTo>
                  <a:lnTo>
                    <a:pt x="2053" y="290"/>
                  </a:lnTo>
                  <a:lnTo>
                    <a:pt x="2048" y="277"/>
                  </a:lnTo>
                  <a:lnTo>
                    <a:pt x="2043" y="265"/>
                  </a:lnTo>
                  <a:lnTo>
                    <a:pt x="2037" y="253"/>
                  </a:lnTo>
                  <a:lnTo>
                    <a:pt x="2030" y="241"/>
                  </a:lnTo>
                  <a:lnTo>
                    <a:pt x="2023" y="230"/>
                  </a:lnTo>
                  <a:lnTo>
                    <a:pt x="2015" y="219"/>
                  </a:lnTo>
                  <a:lnTo>
                    <a:pt x="2007" y="209"/>
                  </a:lnTo>
                  <a:lnTo>
                    <a:pt x="1998" y="199"/>
                  </a:lnTo>
                  <a:lnTo>
                    <a:pt x="1989" y="189"/>
                  </a:lnTo>
                  <a:lnTo>
                    <a:pt x="1979" y="180"/>
                  </a:lnTo>
                  <a:lnTo>
                    <a:pt x="1969" y="171"/>
                  </a:lnTo>
                  <a:lnTo>
                    <a:pt x="1959" y="163"/>
                  </a:lnTo>
                  <a:lnTo>
                    <a:pt x="1948" y="155"/>
                  </a:lnTo>
                  <a:lnTo>
                    <a:pt x="1937" y="147"/>
                  </a:lnTo>
                  <a:lnTo>
                    <a:pt x="1925" y="141"/>
                  </a:lnTo>
                  <a:lnTo>
                    <a:pt x="1913" y="135"/>
                  </a:lnTo>
                  <a:lnTo>
                    <a:pt x="1901" y="129"/>
                  </a:lnTo>
                  <a:lnTo>
                    <a:pt x="1888" y="124"/>
                  </a:lnTo>
                  <a:lnTo>
                    <a:pt x="1876" y="119"/>
                  </a:lnTo>
                  <a:lnTo>
                    <a:pt x="1862" y="116"/>
                  </a:lnTo>
                  <a:lnTo>
                    <a:pt x="1848" y="113"/>
                  </a:lnTo>
                  <a:lnTo>
                    <a:pt x="1835" y="110"/>
                  </a:lnTo>
                  <a:lnTo>
                    <a:pt x="1821" y="108"/>
                  </a:lnTo>
                  <a:lnTo>
                    <a:pt x="1807" y="107"/>
                  </a:lnTo>
                  <a:lnTo>
                    <a:pt x="1793" y="107"/>
                  </a:lnTo>
                  <a:lnTo>
                    <a:pt x="1779" y="107"/>
                  </a:lnTo>
                  <a:lnTo>
                    <a:pt x="1765" y="108"/>
                  </a:lnTo>
                  <a:lnTo>
                    <a:pt x="1751" y="110"/>
                  </a:lnTo>
                  <a:lnTo>
                    <a:pt x="1737" y="113"/>
                  </a:lnTo>
                  <a:lnTo>
                    <a:pt x="1724" y="116"/>
                  </a:lnTo>
                  <a:lnTo>
                    <a:pt x="1711" y="119"/>
                  </a:lnTo>
                  <a:lnTo>
                    <a:pt x="1698" y="124"/>
                  </a:lnTo>
                  <a:lnTo>
                    <a:pt x="1686" y="129"/>
                  </a:lnTo>
                  <a:lnTo>
                    <a:pt x="1674" y="135"/>
                  </a:lnTo>
                  <a:lnTo>
                    <a:pt x="1662" y="141"/>
                  </a:lnTo>
                  <a:lnTo>
                    <a:pt x="1650" y="147"/>
                  </a:lnTo>
                  <a:lnTo>
                    <a:pt x="1639" y="155"/>
                  </a:lnTo>
                  <a:lnTo>
                    <a:pt x="1628" y="163"/>
                  </a:lnTo>
                  <a:lnTo>
                    <a:pt x="1618" y="171"/>
                  </a:lnTo>
                  <a:lnTo>
                    <a:pt x="1608" y="180"/>
                  </a:lnTo>
                  <a:lnTo>
                    <a:pt x="1598" y="189"/>
                  </a:lnTo>
                  <a:lnTo>
                    <a:pt x="1589" y="199"/>
                  </a:lnTo>
                  <a:lnTo>
                    <a:pt x="1580" y="209"/>
                  </a:lnTo>
                  <a:lnTo>
                    <a:pt x="1572" y="219"/>
                  </a:lnTo>
                  <a:lnTo>
                    <a:pt x="1565" y="230"/>
                  </a:lnTo>
                  <a:lnTo>
                    <a:pt x="1557" y="241"/>
                  </a:lnTo>
                  <a:lnTo>
                    <a:pt x="1551" y="253"/>
                  </a:lnTo>
                  <a:lnTo>
                    <a:pt x="1545" y="265"/>
                  </a:lnTo>
                  <a:lnTo>
                    <a:pt x="1539" y="277"/>
                  </a:lnTo>
                  <a:lnTo>
                    <a:pt x="1534" y="290"/>
                  </a:lnTo>
                  <a:lnTo>
                    <a:pt x="1530" y="304"/>
                  </a:lnTo>
                  <a:lnTo>
                    <a:pt x="1526" y="317"/>
                  </a:lnTo>
                  <a:lnTo>
                    <a:pt x="1523" y="330"/>
                  </a:lnTo>
                  <a:lnTo>
                    <a:pt x="1520" y="344"/>
                  </a:lnTo>
                  <a:lnTo>
                    <a:pt x="1519" y="357"/>
                  </a:lnTo>
                  <a:lnTo>
                    <a:pt x="1518" y="371"/>
                  </a:lnTo>
                  <a:lnTo>
                    <a:pt x="1517" y="385"/>
                  </a:lnTo>
                  <a:lnTo>
                    <a:pt x="1518" y="399"/>
                  </a:lnTo>
                  <a:lnTo>
                    <a:pt x="1519" y="413"/>
                  </a:lnTo>
                  <a:lnTo>
                    <a:pt x="1520" y="427"/>
                  </a:lnTo>
                  <a:lnTo>
                    <a:pt x="1523" y="441"/>
                  </a:lnTo>
                  <a:lnTo>
                    <a:pt x="1526" y="454"/>
                  </a:lnTo>
                  <a:lnTo>
                    <a:pt x="1530" y="467"/>
                  </a:lnTo>
                  <a:lnTo>
                    <a:pt x="1534" y="480"/>
                  </a:lnTo>
                  <a:lnTo>
                    <a:pt x="1539" y="493"/>
                  </a:lnTo>
                  <a:lnTo>
                    <a:pt x="1545" y="505"/>
                  </a:lnTo>
                  <a:lnTo>
                    <a:pt x="1551" y="517"/>
                  </a:lnTo>
                  <a:lnTo>
                    <a:pt x="1557" y="528"/>
                  </a:lnTo>
                  <a:lnTo>
                    <a:pt x="1565" y="539"/>
                  </a:lnTo>
                  <a:lnTo>
                    <a:pt x="1572" y="550"/>
                  </a:lnTo>
                  <a:lnTo>
                    <a:pt x="1580" y="561"/>
                  </a:lnTo>
                  <a:lnTo>
                    <a:pt x="1589" y="571"/>
                  </a:lnTo>
                  <a:lnTo>
                    <a:pt x="1598" y="580"/>
                  </a:lnTo>
                  <a:lnTo>
                    <a:pt x="1608" y="589"/>
                  </a:lnTo>
                  <a:lnTo>
                    <a:pt x="1618" y="598"/>
                  </a:lnTo>
                  <a:lnTo>
                    <a:pt x="1628" y="606"/>
                  </a:lnTo>
                  <a:lnTo>
                    <a:pt x="1639" y="614"/>
                  </a:lnTo>
                  <a:lnTo>
                    <a:pt x="1650" y="621"/>
                  </a:lnTo>
                  <a:lnTo>
                    <a:pt x="1662" y="628"/>
                  </a:lnTo>
                  <a:lnTo>
                    <a:pt x="1674" y="634"/>
                  </a:lnTo>
                  <a:lnTo>
                    <a:pt x="1686" y="639"/>
                  </a:lnTo>
                  <a:lnTo>
                    <a:pt x="1698" y="644"/>
                  </a:lnTo>
                  <a:lnTo>
                    <a:pt x="1711" y="648"/>
                  </a:lnTo>
                  <a:lnTo>
                    <a:pt x="1724" y="652"/>
                  </a:lnTo>
                  <a:lnTo>
                    <a:pt x="1737" y="655"/>
                  </a:lnTo>
                  <a:lnTo>
                    <a:pt x="1751" y="658"/>
                  </a:lnTo>
                  <a:lnTo>
                    <a:pt x="1765" y="659"/>
                  </a:lnTo>
                  <a:lnTo>
                    <a:pt x="1779" y="660"/>
                  </a:lnTo>
                  <a:lnTo>
                    <a:pt x="1793" y="661"/>
                  </a:lnTo>
                  <a:close/>
                  <a:moveTo>
                    <a:pt x="2426" y="111"/>
                  </a:moveTo>
                  <a:lnTo>
                    <a:pt x="2235" y="111"/>
                  </a:lnTo>
                  <a:lnTo>
                    <a:pt x="2230" y="111"/>
                  </a:lnTo>
                  <a:lnTo>
                    <a:pt x="2227" y="109"/>
                  </a:lnTo>
                  <a:lnTo>
                    <a:pt x="2223" y="107"/>
                  </a:lnTo>
                  <a:lnTo>
                    <a:pt x="2220" y="105"/>
                  </a:lnTo>
                  <a:lnTo>
                    <a:pt x="2218" y="102"/>
                  </a:lnTo>
                  <a:lnTo>
                    <a:pt x="2216" y="98"/>
                  </a:lnTo>
                  <a:lnTo>
                    <a:pt x="2215" y="95"/>
                  </a:lnTo>
                  <a:lnTo>
                    <a:pt x="2214" y="91"/>
                  </a:lnTo>
                  <a:lnTo>
                    <a:pt x="2214" y="31"/>
                  </a:lnTo>
                  <a:lnTo>
                    <a:pt x="2215" y="27"/>
                  </a:lnTo>
                  <a:lnTo>
                    <a:pt x="2216" y="24"/>
                  </a:lnTo>
                  <a:lnTo>
                    <a:pt x="2218" y="20"/>
                  </a:lnTo>
                  <a:lnTo>
                    <a:pt x="2220" y="17"/>
                  </a:lnTo>
                  <a:lnTo>
                    <a:pt x="2223" y="15"/>
                  </a:lnTo>
                  <a:lnTo>
                    <a:pt x="2227" y="13"/>
                  </a:lnTo>
                  <a:lnTo>
                    <a:pt x="2230" y="11"/>
                  </a:lnTo>
                  <a:lnTo>
                    <a:pt x="2235" y="11"/>
                  </a:lnTo>
                  <a:lnTo>
                    <a:pt x="2727" y="11"/>
                  </a:lnTo>
                  <a:lnTo>
                    <a:pt x="2732" y="11"/>
                  </a:lnTo>
                  <a:lnTo>
                    <a:pt x="2736" y="13"/>
                  </a:lnTo>
                  <a:lnTo>
                    <a:pt x="2739" y="15"/>
                  </a:lnTo>
                  <a:lnTo>
                    <a:pt x="2742" y="17"/>
                  </a:lnTo>
                  <a:lnTo>
                    <a:pt x="2744" y="20"/>
                  </a:lnTo>
                  <a:lnTo>
                    <a:pt x="2746" y="24"/>
                  </a:lnTo>
                  <a:lnTo>
                    <a:pt x="2747" y="27"/>
                  </a:lnTo>
                  <a:lnTo>
                    <a:pt x="2748" y="31"/>
                  </a:lnTo>
                  <a:lnTo>
                    <a:pt x="2748" y="91"/>
                  </a:lnTo>
                  <a:lnTo>
                    <a:pt x="2747" y="95"/>
                  </a:lnTo>
                  <a:lnTo>
                    <a:pt x="2746" y="98"/>
                  </a:lnTo>
                  <a:lnTo>
                    <a:pt x="2744" y="102"/>
                  </a:lnTo>
                  <a:lnTo>
                    <a:pt x="2742" y="105"/>
                  </a:lnTo>
                  <a:lnTo>
                    <a:pt x="2739" y="107"/>
                  </a:lnTo>
                  <a:lnTo>
                    <a:pt x="2736" y="109"/>
                  </a:lnTo>
                  <a:lnTo>
                    <a:pt x="2732" y="111"/>
                  </a:lnTo>
                  <a:lnTo>
                    <a:pt x="2727" y="111"/>
                  </a:lnTo>
                  <a:lnTo>
                    <a:pt x="2536" y="111"/>
                  </a:lnTo>
                  <a:lnTo>
                    <a:pt x="2536" y="736"/>
                  </a:lnTo>
                  <a:lnTo>
                    <a:pt x="2536" y="740"/>
                  </a:lnTo>
                  <a:lnTo>
                    <a:pt x="2535" y="744"/>
                  </a:lnTo>
                  <a:lnTo>
                    <a:pt x="2533" y="747"/>
                  </a:lnTo>
                  <a:lnTo>
                    <a:pt x="2530" y="750"/>
                  </a:lnTo>
                  <a:lnTo>
                    <a:pt x="2527" y="753"/>
                  </a:lnTo>
                  <a:lnTo>
                    <a:pt x="2524" y="755"/>
                  </a:lnTo>
                  <a:lnTo>
                    <a:pt x="2520" y="756"/>
                  </a:lnTo>
                  <a:lnTo>
                    <a:pt x="2516" y="757"/>
                  </a:lnTo>
                  <a:lnTo>
                    <a:pt x="2446" y="757"/>
                  </a:lnTo>
                  <a:lnTo>
                    <a:pt x="2442" y="756"/>
                  </a:lnTo>
                  <a:lnTo>
                    <a:pt x="2438" y="755"/>
                  </a:lnTo>
                  <a:lnTo>
                    <a:pt x="2435" y="753"/>
                  </a:lnTo>
                  <a:lnTo>
                    <a:pt x="2432" y="750"/>
                  </a:lnTo>
                  <a:lnTo>
                    <a:pt x="2429" y="747"/>
                  </a:lnTo>
                  <a:lnTo>
                    <a:pt x="2427" y="744"/>
                  </a:lnTo>
                  <a:lnTo>
                    <a:pt x="2426" y="740"/>
                  </a:lnTo>
                  <a:lnTo>
                    <a:pt x="2426" y="736"/>
                  </a:lnTo>
                  <a:lnTo>
                    <a:pt x="2426" y="111"/>
                  </a:lnTo>
                  <a:close/>
                  <a:moveTo>
                    <a:pt x="2885" y="31"/>
                  </a:moveTo>
                  <a:lnTo>
                    <a:pt x="2885" y="27"/>
                  </a:lnTo>
                  <a:lnTo>
                    <a:pt x="2886" y="24"/>
                  </a:lnTo>
                  <a:lnTo>
                    <a:pt x="2888" y="20"/>
                  </a:lnTo>
                  <a:lnTo>
                    <a:pt x="2891" y="17"/>
                  </a:lnTo>
                  <a:lnTo>
                    <a:pt x="2893" y="15"/>
                  </a:lnTo>
                  <a:lnTo>
                    <a:pt x="2897" y="13"/>
                  </a:lnTo>
                  <a:lnTo>
                    <a:pt x="2901" y="11"/>
                  </a:lnTo>
                  <a:lnTo>
                    <a:pt x="2905" y="11"/>
                  </a:lnTo>
                  <a:lnTo>
                    <a:pt x="3331" y="11"/>
                  </a:lnTo>
                  <a:lnTo>
                    <a:pt x="3336" y="11"/>
                  </a:lnTo>
                  <a:lnTo>
                    <a:pt x="3340" y="13"/>
                  </a:lnTo>
                  <a:lnTo>
                    <a:pt x="3343" y="15"/>
                  </a:lnTo>
                  <a:lnTo>
                    <a:pt x="3346" y="17"/>
                  </a:lnTo>
                  <a:lnTo>
                    <a:pt x="3348" y="20"/>
                  </a:lnTo>
                  <a:lnTo>
                    <a:pt x="3350" y="24"/>
                  </a:lnTo>
                  <a:lnTo>
                    <a:pt x="3351" y="27"/>
                  </a:lnTo>
                  <a:lnTo>
                    <a:pt x="3352" y="31"/>
                  </a:lnTo>
                  <a:lnTo>
                    <a:pt x="3352" y="91"/>
                  </a:lnTo>
                  <a:lnTo>
                    <a:pt x="3351" y="95"/>
                  </a:lnTo>
                  <a:lnTo>
                    <a:pt x="3350" y="98"/>
                  </a:lnTo>
                  <a:lnTo>
                    <a:pt x="3348" y="102"/>
                  </a:lnTo>
                  <a:lnTo>
                    <a:pt x="3346" y="105"/>
                  </a:lnTo>
                  <a:lnTo>
                    <a:pt x="3343" y="107"/>
                  </a:lnTo>
                  <a:lnTo>
                    <a:pt x="3340" y="109"/>
                  </a:lnTo>
                  <a:lnTo>
                    <a:pt x="3336" y="111"/>
                  </a:lnTo>
                  <a:lnTo>
                    <a:pt x="3331" y="111"/>
                  </a:lnTo>
                  <a:lnTo>
                    <a:pt x="2994" y="111"/>
                  </a:lnTo>
                  <a:lnTo>
                    <a:pt x="2994" y="329"/>
                  </a:lnTo>
                  <a:lnTo>
                    <a:pt x="3278" y="329"/>
                  </a:lnTo>
                  <a:lnTo>
                    <a:pt x="3282" y="329"/>
                  </a:lnTo>
                  <a:lnTo>
                    <a:pt x="3286" y="331"/>
                  </a:lnTo>
                  <a:lnTo>
                    <a:pt x="3289" y="333"/>
                  </a:lnTo>
                  <a:lnTo>
                    <a:pt x="3292" y="335"/>
                  </a:lnTo>
                  <a:lnTo>
                    <a:pt x="3295" y="338"/>
                  </a:lnTo>
                  <a:lnTo>
                    <a:pt x="3297" y="342"/>
                  </a:lnTo>
                  <a:lnTo>
                    <a:pt x="3298" y="345"/>
                  </a:lnTo>
                  <a:lnTo>
                    <a:pt x="3298" y="349"/>
                  </a:lnTo>
                  <a:lnTo>
                    <a:pt x="3298" y="409"/>
                  </a:lnTo>
                  <a:lnTo>
                    <a:pt x="3298" y="413"/>
                  </a:lnTo>
                  <a:lnTo>
                    <a:pt x="3297" y="417"/>
                  </a:lnTo>
                  <a:lnTo>
                    <a:pt x="3295" y="420"/>
                  </a:lnTo>
                  <a:lnTo>
                    <a:pt x="3292" y="423"/>
                  </a:lnTo>
                  <a:lnTo>
                    <a:pt x="3289" y="426"/>
                  </a:lnTo>
                  <a:lnTo>
                    <a:pt x="3286" y="427"/>
                  </a:lnTo>
                  <a:lnTo>
                    <a:pt x="3282" y="429"/>
                  </a:lnTo>
                  <a:lnTo>
                    <a:pt x="3278" y="429"/>
                  </a:lnTo>
                  <a:lnTo>
                    <a:pt x="2994" y="429"/>
                  </a:lnTo>
                  <a:lnTo>
                    <a:pt x="2994" y="658"/>
                  </a:lnTo>
                  <a:lnTo>
                    <a:pt x="3331" y="658"/>
                  </a:lnTo>
                  <a:lnTo>
                    <a:pt x="3336" y="658"/>
                  </a:lnTo>
                  <a:lnTo>
                    <a:pt x="3340" y="659"/>
                  </a:lnTo>
                  <a:lnTo>
                    <a:pt x="3343" y="661"/>
                  </a:lnTo>
                  <a:lnTo>
                    <a:pt x="3346" y="664"/>
                  </a:lnTo>
                  <a:lnTo>
                    <a:pt x="3348" y="667"/>
                  </a:lnTo>
                  <a:lnTo>
                    <a:pt x="3350" y="670"/>
                  </a:lnTo>
                  <a:lnTo>
                    <a:pt x="3351" y="674"/>
                  </a:lnTo>
                  <a:lnTo>
                    <a:pt x="3352" y="678"/>
                  </a:lnTo>
                  <a:lnTo>
                    <a:pt x="3352" y="736"/>
                  </a:lnTo>
                  <a:lnTo>
                    <a:pt x="3351" y="740"/>
                  </a:lnTo>
                  <a:lnTo>
                    <a:pt x="3350" y="744"/>
                  </a:lnTo>
                  <a:lnTo>
                    <a:pt x="3348" y="747"/>
                  </a:lnTo>
                  <a:lnTo>
                    <a:pt x="3346" y="750"/>
                  </a:lnTo>
                  <a:lnTo>
                    <a:pt x="3343" y="753"/>
                  </a:lnTo>
                  <a:lnTo>
                    <a:pt x="3340" y="755"/>
                  </a:lnTo>
                  <a:lnTo>
                    <a:pt x="3336" y="756"/>
                  </a:lnTo>
                  <a:lnTo>
                    <a:pt x="3331" y="757"/>
                  </a:lnTo>
                  <a:lnTo>
                    <a:pt x="2905" y="757"/>
                  </a:lnTo>
                  <a:lnTo>
                    <a:pt x="2901" y="756"/>
                  </a:lnTo>
                  <a:lnTo>
                    <a:pt x="2897" y="755"/>
                  </a:lnTo>
                  <a:lnTo>
                    <a:pt x="2893" y="753"/>
                  </a:lnTo>
                  <a:lnTo>
                    <a:pt x="2891" y="750"/>
                  </a:lnTo>
                  <a:lnTo>
                    <a:pt x="2888" y="747"/>
                  </a:lnTo>
                  <a:lnTo>
                    <a:pt x="2886" y="744"/>
                  </a:lnTo>
                  <a:lnTo>
                    <a:pt x="2885" y="740"/>
                  </a:lnTo>
                  <a:lnTo>
                    <a:pt x="2885" y="736"/>
                  </a:lnTo>
                  <a:lnTo>
                    <a:pt x="2885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4974412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PIC3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76C8677-740D-B64B-B05C-5FCDB41A57EC}"/>
              </a:ext>
            </a:extLst>
          </p:cNvPr>
          <p:cNvSpPr/>
          <p:nvPr userDrawn="1"/>
        </p:nvSpPr>
        <p:spPr>
          <a:xfrm>
            <a:off x="0" y="0"/>
            <a:ext cx="12192000" cy="677703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4652963"/>
            <a:ext cx="12192000" cy="2124075"/>
          </a:xfrm>
          <a:solidFill>
            <a:srgbClr val="F2F2F2">
              <a:alpha val="40000"/>
            </a:srgbClr>
          </a:solidFill>
        </p:spPr>
        <p:txBody>
          <a:bodyPr lIns="756000" tIns="504000" rIns="756000" bIns="936000" anchor="t" anchorCtr="0"/>
          <a:lstStyle>
            <a:lvl1pPr algn="l">
              <a:lnSpc>
                <a:spcPct val="85000"/>
              </a:lnSpc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6763" y="5949350"/>
            <a:ext cx="11017249" cy="359374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EAB3B1D9-5529-4186-8634-E90761927DBE}" type="datetime1">
              <a:rPr lang="fi-FI" smtClean="0"/>
              <a:t>31.3.2025</a:t>
            </a:fld>
            <a:endParaRPr lang="en-US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Presentation name and Author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50B285B-2D20-4CC2-81CD-215A1F1E1130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7" name="Group 16"/>
          <p:cNvGrpSpPr>
            <a:grpSpLocks noChangeAspect="1"/>
          </p:cNvGrpSpPr>
          <p:nvPr userDrawn="1"/>
        </p:nvGrpSpPr>
        <p:grpSpPr>
          <a:xfrm>
            <a:off x="10081690" y="404580"/>
            <a:ext cx="1703100" cy="270000"/>
            <a:chOff x="1455738" y="2698750"/>
            <a:chExt cx="9272588" cy="1470025"/>
          </a:xfrm>
        </p:grpSpPr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1455738" y="2698750"/>
              <a:ext cx="2762250" cy="1416050"/>
            </a:xfrm>
            <a:custGeom>
              <a:avLst/>
              <a:gdLst>
                <a:gd name="T0" fmla="*/ 1740 w 1740"/>
                <a:gd name="T1" fmla="*/ 192 h 892"/>
                <a:gd name="T2" fmla="*/ 1591 w 1740"/>
                <a:gd name="T3" fmla="*/ 483 h 892"/>
                <a:gd name="T4" fmla="*/ 1457 w 1740"/>
                <a:gd name="T5" fmla="*/ 741 h 892"/>
                <a:gd name="T6" fmla="*/ 1047 w 1740"/>
                <a:gd name="T7" fmla="*/ 709 h 892"/>
                <a:gd name="T8" fmla="*/ 607 w 1740"/>
                <a:gd name="T9" fmla="*/ 713 h 892"/>
                <a:gd name="T10" fmla="*/ 257 w 1740"/>
                <a:gd name="T11" fmla="*/ 742 h 892"/>
                <a:gd name="T12" fmla="*/ 149 w 1740"/>
                <a:gd name="T13" fmla="*/ 483 h 892"/>
                <a:gd name="T14" fmla="*/ 0 w 1740"/>
                <a:gd name="T15" fmla="*/ 189 h 892"/>
                <a:gd name="T16" fmla="*/ 36 w 1740"/>
                <a:gd name="T17" fmla="*/ 180 h 892"/>
                <a:gd name="T18" fmla="*/ 121 w 1740"/>
                <a:gd name="T19" fmla="*/ 218 h 892"/>
                <a:gd name="T20" fmla="*/ 194 w 1740"/>
                <a:gd name="T21" fmla="*/ 280 h 892"/>
                <a:gd name="T22" fmla="*/ 249 w 1740"/>
                <a:gd name="T23" fmla="*/ 235 h 892"/>
                <a:gd name="T24" fmla="*/ 335 w 1740"/>
                <a:gd name="T25" fmla="*/ 232 h 892"/>
                <a:gd name="T26" fmla="*/ 390 w 1740"/>
                <a:gd name="T27" fmla="*/ 272 h 892"/>
                <a:gd name="T28" fmla="*/ 362 w 1740"/>
                <a:gd name="T29" fmla="*/ 310 h 892"/>
                <a:gd name="T30" fmla="*/ 334 w 1740"/>
                <a:gd name="T31" fmla="*/ 386 h 892"/>
                <a:gd name="T32" fmla="*/ 344 w 1740"/>
                <a:gd name="T33" fmla="*/ 462 h 892"/>
                <a:gd name="T34" fmla="*/ 405 w 1740"/>
                <a:gd name="T35" fmla="*/ 538 h 892"/>
                <a:gd name="T36" fmla="*/ 492 w 1740"/>
                <a:gd name="T37" fmla="*/ 572 h 892"/>
                <a:gd name="T38" fmla="*/ 590 w 1740"/>
                <a:gd name="T39" fmla="*/ 561 h 892"/>
                <a:gd name="T40" fmla="*/ 658 w 1740"/>
                <a:gd name="T41" fmla="*/ 519 h 892"/>
                <a:gd name="T42" fmla="*/ 706 w 1740"/>
                <a:gd name="T43" fmla="*/ 439 h 892"/>
                <a:gd name="T44" fmla="*/ 704 w 1740"/>
                <a:gd name="T45" fmla="*/ 352 h 892"/>
                <a:gd name="T46" fmla="*/ 653 w 1740"/>
                <a:gd name="T47" fmla="*/ 275 h 892"/>
                <a:gd name="T48" fmla="*/ 596 w 1740"/>
                <a:gd name="T49" fmla="*/ 239 h 892"/>
                <a:gd name="T50" fmla="*/ 615 w 1740"/>
                <a:gd name="T51" fmla="*/ 201 h 892"/>
                <a:gd name="T52" fmla="*/ 678 w 1740"/>
                <a:gd name="T53" fmla="*/ 167 h 892"/>
                <a:gd name="T54" fmla="*/ 760 w 1740"/>
                <a:gd name="T55" fmla="*/ 178 h 892"/>
                <a:gd name="T56" fmla="*/ 790 w 1740"/>
                <a:gd name="T57" fmla="*/ 100 h 892"/>
                <a:gd name="T58" fmla="*/ 822 w 1740"/>
                <a:gd name="T59" fmla="*/ 39 h 892"/>
                <a:gd name="T60" fmla="*/ 871 w 1740"/>
                <a:gd name="T61" fmla="*/ 0 h 892"/>
                <a:gd name="T62" fmla="*/ 920 w 1740"/>
                <a:gd name="T63" fmla="*/ 39 h 892"/>
                <a:gd name="T64" fmla="*/ 962 w 1740"/>
                <a:gd name="T65" fmla="*/ 152 h 892"/>
                <a:gd name="T66" fmla="*/ 1027 w 1740"/>
                <a:gd name="T67" fmla="*/ 165 h 892"/>
                <a:gd name="T68" fmla="*/ 1093 w 1740"/>
                <a:gd name="T69" fmla="*/ 177 h 892"/>
                <a:gd name="T70" fmla="*/ 1145 w 1740"/>
                <a:gd name="T71" fmla="*/ 228 h 892"/>
                <a:gd name="T72" fmla="*/ 1134 w 1740"/>
                <a:gd name="T73" fmla="*/ 245 h 892"/>
                <a:gd name="T74" fmla="*/ 1062 w 1740"/>
                <a:gd name="T75" fmla="*/ 301 h 892"/>
                <a:gd name="T76" fmla="*/ 1033 w 1740"/>
                <a:gd name="T77" fmla="*/ 364 h 892"/>
                <a:gd name="T78" fmla="*/ 1037 w 1740"/>
                <a:gd name="T79" fmla="*/ 447 h 892"/>
                <a:gd name="T80" fmla="*/ 1076 w 1740"/>
                <a:gd name="T81" fmla="*/ 513 h 892"/>
                <a:gd name="T82" fmla="*/ 1159 w 1740"/>
                <a:gd name="T83" fmla="*/ 564 h 892"/>
                <a:gd name="T84" fmla="*/ 1257 w 1740"/>
                <a:gd name="T85" fmla="*/ 570 h 892"/>
                <a:gd name="T86" fmla="*/ 1348 w 1740"/>
                <a:gd name="T87" fmla="*/ 527 h 892"/>
                <a:gd name="T88" fmla="*/ 1393 w 1740"/>
                <a:gd name="T89" fmla="*/ 470 h 892"/>
                <a:gd name="T90" fmla="*/ 1406 w 1740"/>
                <a:gd name="T91" fmla="*/ 386 h 892"/>
                <a:gd name="T92" fmla="*/ 1378 w 1740"/>
                <a:gd name="T93" fmla="*/ 310 h 892"/>
                <a:gd name="T94" fmla="*/ 1350 w 1740"/>
                <a:gd name="T95" fmla="*/ 270 h 892"/>
                <a:gd name="T96" fmla="*/ 1400 w 1740"/>
                <a:gd name="T97" fmla="*/ 234 h 892"/>
                <a:gd name="T98" fmla="*/ 1468 w 1740"/>
                <a:gd name="T99" fmla="*/ 228 h 892"/>
                <a:gd name="T100" fmla="*/ 1530 w 1740"/>
                <a:gd name="T101" fmla="*/ 261 h 892"/>
                <a:gd name="T102" fmla="*/ 1602 w 1740"/>
                <a:gd name="T103" fmla="*/ 232 h 892"/>
                <a:gd name="T104" fmla="*/ 1696 w 1740"/>
                <a:gd name="T105" fmla="*/ 181 h 892"/>
                <a:gd name="T106" fmla="*/ 1458 w 1740"/>
                <a:gd name="T107" fmla="*/ 812 h 892"/>
                <a:gd name="T108" fmla="*/ 1432 w 1740"/>
                <a:gd name="T109" fmla="*/ 892 h 892"/>
                <a:gd name="T110" fmla="*/ 946 w 1740"/>
                <a:gd name="T111" fmla="*/ 861 h 892"/>
                <a:gd name="T112" fmla="*/ 313 w 1740"/>
                <a:gd name="T113" fmla="*/ 892 h 892"/>
                <a:gd name="T114" fmla="*/ 280 w 1740"/>
                <a:gd name="T115" fmla="*/ 816 h 892"/>
                <a:gd name="T116" fmla="*/ 457 w 1740"/>
                <a:gd name="T117" fmla="*/ 790 h 892"/>
                <a:gd name="T118" fmla="*/ 914 w 1740"/>
                <a:gd name="T119" fmla="*/ 772 h 892"/>
                <a:gd name="T120" fmla="*/ 1449 w 1740"/>
                <a:gd name="T121" fmla="*/ 806 h 8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40" h="892">
                  <a:moveTo>
                    <a:pt x="1729" y="178"/>
                  </a:moveTo>
                  <a:lnTo>
                    <a:pt x="1734" y="179"/>
                  </a:lnTo>
                  <a:lnTo>
                    <a:pt x="1735" y="180"/>
                  </a:lnTo>
                  <a:lnTo>
                    <a:pt x="1737" y="181"/>
                  </a:lnTo>
                  <a:lnTo>
                    <a:pt x="1738" y="182"/>
                  </a:lnTo>
                  <a:lnTo>
                    <a:pt x="1739" y="184"/>
                  </a:lnTo>
                  <a:lnTo>
                    <a:pt x="1740" y="186"/>
                  </a:lnTo>
                  <a:lnTo>
                    <a:pt x="1740" y="188"/>
                  </a:lnTo>
                  <a:lnTo>
                    <a:pt x="1740" y="192"/>
                  </a:lnTo>
                  <a:lnTo>
                    <a:pt x="1738" y="194"/>
                  </a:lnTo>
                  <a:lnTo>
                    <a:pt x="1718" y="230"/>
                  </a:lnTo>
                  <a:lnTo>
                    <a:pt x="1698" y="266"/>
                  </a:lnTo>
                  <a:lnTo>
                    <a:pt x="1678" y="302"/>
                  </a:lnTo>
                  <a:lnTo>
                    <a:pt x="1659" y="338"/>
                  </a:lnTo>
                  <a:lnTo>
                    <a:pt x="1641" y="375"/>
                  </a:lnTo>
                  <a:lnTo>
                    <a:pt x="1624" y="411"/>
                  </a:lnTo>
                  <a:lnTo>
                    <a:pt x="1607" y="447"/>
                  </a:lnTo>
                  <a:lnTo>
                    <a:pt x="1591" y="483"/>
                  </a:lnTo>
                  <a:lnTo>
                    <a:pt x="1561" y="552"/>
                  </a:lnTo>
                  <a:lnTo>
                    <a:pt x="1534" y="618"/>
                  </a:lnTo>
                  <a:lnTo>
                    <a:pt x="1510" y="680"/>
                  </a:lnTo>
                  <a:lnTo>
                    <a:pt x="1489" y="736"/>
                  </a:lnTo>
                  <a:lnTo>
                    <a:pt x="1488" y="739"/>
                  </a:lnTo>
                  <a:lnTo>
                    <a:pt x="1485" y="741"/>
                  </a:lnTo>
                  <a:lnTo>
                    <a:pt x="1482" y="743"/>
                  </a:lnTo>
                  <a:lnTo>
                    <a:pt x="1479" y="743"/>
                  </a:lnTo>
                  <a:lnTo>
                    <a:pt x="1457" y="741"/>
                  </a:lnTo>
                  <a:lnTo>
                    <a:pt x="1412" y="736"/>
                  </a:lnTo>
                  <a:lnTo>
                    <a:pt x="1385" y="733"/>
                  </a:lnTo>
                  <a:lnTo>
                    <a:pt x="1356" y="730"/>
                  </a:lnTo>
                  <a:lnTo>
                    <a:pt x="1324" y="727"/>
                  </a:lnTo>
                  <a:lnTo>
                    <a:pt x="1289" y="724"/>
                  </a:lnTo>
                  <a:lnTo>
                    <a:pt x="1214" y="718"/>
                  </a:lnTo>
                  <a:lnTo>
                    <a:pt x="1133" y="713"/>
                  </a:lnTo>
                  <a:lnTo>
                    <a:pt x="1090" y="711"/>
                  </a:lnTo>
                  <a:lnTo>
                    <a:pt x="1047" y="709"/>
                  </a:lnTo>
                  <a:lnTo>
                    <a:pt x="1003" y="708"/>
                  </a:lnTo>
                  <a:lnTo>
                    <a:pt x="959" y="707"/>
                  </a:lnTo>
                  <a:lnTo>
                    <a:pt x="915" y="706"/>
                  </a:lnTo>
                  <a:lnTo>
                    <a:pt x="871" y="706"/>
                  </a:lnTo>
                  <a:lnTo>
                    <a:pt x="826" y="706"/>
                  </a:lnTo>
                  <a:lnTo>
                    <a:pt x="782" y="707"/>
                  </a:lnTo>
                  <a:lnTo>
                    <a:pt x="738" y="708"/>
                  </a:lnTo>
                  <a:lnTo>
                    <a:pt x="693" y="709"/>
                  </a:lnTo>
                  <a:lnTo>
                    <a:pt x="607" y="713"/>
                  </a:lnTo>
                  <a:lnTo>
                    <a:pt x="526" y="718"/>
                  </a:lnTo>
                  <a:lnTo>
                    <a:pt x="488" y="721"/>
                  </a:lnTo>
                  <a:lnTo>
                    <a:pt x="451" y="724"/>
                  </a:lnTo>
                  <a:lnTo>
                    <a:pt x="384" y="730"/>
                  </a:lnTo>
                  <a:lnTo>
                    <a:pt x="328" y="736"/>
                  </a:lnTo>
                  <a:lnTo>
                    <a:pt x="284" y="741"/>
                  </a:lnTo>
                  <a:lnTo>
                    <a:pt x="263" y="743"/>
                  </a:lnTo>
                  <a:lnTo>
                    <a:pt x="259" y="743"/>
                  </a:lnTo>
                  <a:lnTo>
                    <a:pt x="257" y="742"/>
                  </a:lnTo>
                  <a:lnTo>
                    <a:pt x="255" y="741"/>
                  </a:lnTo>
                  <a:lnTo>
                    <a:pt x="254" y="740"/>
                  </a:lnTo>
                  <a:lnTo>
                    <a:pt x="253" y="739"/>
                  </a:lnTo>
                  <a:lnTo>
                    <a:pt x="251" y="736"/>
                  </a:lnTo>
                  <a:lnTo>
                    <a:pt x="230" y="680"/>
                  </a:lnTo>
                  <a:lnTo>
                    <a:pt x="206" y="618"/>
                  </a:lnTo>
                  <a:lnTo>
                    <a:pt x="179" y="552"/>
                  </a:lnTo>
                  <a:lnTo>
                    <a:pt x="164" y="518"/>
                  </a:lnTo>
                  <a:lnTo>
                    <a:pt x="149" y="483"/>
                  </a:lnTo>
                  <a:lnTo>
                    <a:pt x="116" y="411"/>
                  </a:lnTo>
                  <a:lnTo>
                    <a:pt x="99" y="374"/>
                  </a:lnTo>
                  <a:lnTo>
                    <a:pt x="81" y="338"/>
                  </a:lnTo>
                  <a:lnTo>
                    <a:pt x="62" y="302"/>
                  </a:lnTo>
                  <a:lnTo>
                    <a:pt x="42" y="266"/>
                  </a:lnTo>
                  <a:lnTo>
                    <a:pt x="22" y="230"/>
                  </a:lnTo>
                  <a:lnTo>
                    <a:pt x="2" y="194"/>
                  </a:lnTo>
                  <a:lnTo>
                    <a:pt x="1" y="191"/>
                  </a:lnTo>
                  <a:lnTo>
                    <a:pt x="0" y="189"/>
                  </a:lnTo>
                  <a:lnTo>
                    <a:pt x="0" y="186"/>
                  </a:lnTo>
                  <a:lnTo>
                    <a:pt x="2" y="183"/>
                  </a:lnTo>
                  <a:lnTo>
                    <a:pt x="3" y="181"/>
                  </a:lnTo>
                  <a:lnTo>
                    <a:pt x="6" y="179"/>
                  </a:lnTo>
                  <a:lnTo>
                    <a:pt x="8" y="178"/>
                  </a:lnTo>
                  <a:lnTo>
                    <a:pt x="11" y="178"/>
                  </a:lnTo>
                  <a:lnTo>
                    <a:pt x="19" y="178"/>
                  </a:lnTo>
                  <a:lnTo>
                    <a:pt x="28" y="179"/>
                  </a:lnTo>
                  <a:lnTo>
                    <a:pt x="36" y="180"/>
                  </a:lnTo>
                  <a:lnTo>
                    <a:pt x="44" y="181"/>
                  </a:lnTo>
                  <a:lnTo>
                    <a:pt x="52" y="183"/>
                  </a:lnTo>
                  <a:lnTo>
                    <a:pt x="59" y="186"/>
                  </a:lnTo>
                  <a:lnTo>
                    <a:pt x="74" y="191"/>
                  </a:lnTo>
                  <a:lnTo>
                    <a:pt x="82" y="194"/>
                  </a:lnTo>
                  <a:lnTo>
                    <a:pt x="89" y="198"/>
                  </a:lnTo>
                  <a:lnTo>
                    <a:pt x="102" y="205"/>
                  </a:lnTo>
                  <a:lnTo>
                    <a:pt x="115" y="214"/>
                  </a:lnTo>
                  <a:lnTo>
                    <a:pt x="121" y="218"/>
                  </a:lnTo>
                  <a:lnTo>
                    <a:pt x="127" y="223"/>
                  </a:lnTo>
                  <a:lnTo>
                    <a:pt x="133" y="227"/>
                  </a:lnTo>
                  <a:lnTo>
                    <a:pt x="138" y="232"/>
                  </a:lnTo>
                  <a:lnTo>
                    <a:pt x="149" y="241"/>
                  </a:lnTo>
                  <a:lnTo>
                    <a:pt x="167" y="259"/>
                  </a:lnTo>
                  <a:lnTo>
                    <a:pt x="174" y="267"/>
                  </a:lnTo>
                  <a:lnTo>
                    <a:pt x="181" y="275"/>
                  </a:lnTo>
                  <a:lnTo>
                    <a:pt x="190" y="287"/>
                  </a:lnTo>
                  <a:lnTo>
                    <a:pt x="194" y="280"/>
                  </a:lnTo>
                  <a:lnTo>
                    <a:pt x="199" y="273"/>
                  </a:lnTo>
                  <a:lnTo>
                    <a:pt x="204" y="267"/>
                  </a:lnTo>
                  <a:lnTo>
                    <a:pt x="210" y="261"/>
                  </a:lnTo>
                  <a:lnTo>
                    <a:pt x="216" y="256"/>
                  </a:lnTo>
                  <a:lnTo>
                    <a:pt x="222" y="251"/>
                  </a:lnTo>
                  <a:lnTo>
                    <a:pt x="228" y="246"/>
                  </a:lnTo>
                  <a:lnTo>
                    <a:pt x="235" y="242"/>
                  </a:lnTo>
                  <a:lnTo>
                    <a:pt x="242" y="238"/>
                  </a:lnTo>
                  <a:lnTo>
                    <a:pt x="249" y="235"/>
                  </a:lnTo>
                  <a:lnTo>
                    <a:pt x="264" y="230"/>
                  </a:lnTo>
                  <a:lnTo>
                    <a:pt x="272" y="228"/>
                  </a:lnTo>
                  <a:lnTo>
                    <a:pt x="280" y="227"/>
                  </a:lnTo>
                  <a:lnTo>
                    <a:pt x="288" y="226"/>
                  </a:lnTo>
                  <a:lnTo>
                    <a:pt x="296" y="226"/>
                  </a:lnTo>
                  <a:lnTo>
                    <a:pt x="309" y="226"/>
                  </a:lnTo>
                  <a:lnTo>
                    <a:pt x="316" y="227"/>
                  </a:lnTo>
                  <a:lnTo>
                    <a:pt x="322" y="228"/>
                  </a:lnTo>
                  <a:lnTo>
                    <a:pt x="335" y="232"/>
                  </a:lnTo>
                  <a:lnTo>
                    <a:pt x="346" y="236"/>
                  </a:lnTo>
                  <a:lnTo>
                    <a:pt x="358" y="242"/>
                  </a:lnTo>
                  <a:lnTo>
                    <a:pt x="368" y="249"/>
                  </a:lnTo>
                  <a:lnTo>
                    <a:pt x="374" y="253"/>
                  </a:lnTo>
                  <a:lnTo>
                    <a:pt x="378" y="257"/>
                  </a:lnTo>
                  <a:lnTo>
                    <a:pt x="388" y="266"/>
                  </a:lnTo>
                  <a:lnTo>
                    <a:pt x="389" y="268"/>
                  </a:lnTo>
                  <a:lnTo>
                    <a:pt x="390" y="270"/>
                  </a:lnTo>
                  <a:lnTo>
                    <a:pt x="390" y="272"/>
                  </a:lnTo>
                  <a:lnTo>
                    <a:pt x="390" y="274"/>
                  </a:lnTo>
                  <a:lnTo>
                    <a:pt x="390" y="276"/>
                  </a:lnTo>
                  <a:lnTo>
                    <a:pt x="389" y="278"/>
                  </a:lnTo>
                  <a:lnTo>
                    <a:pt x="388" y="280"/>
                  </a:lnTo>
                  <a:lnTo>
                    <a:pt x="387" y="281"/>
                  </a:lnTo>
                  <a:lnTo>
                    <a:pt x="380" y="288"/>
                  </a:lnTo>
                  <a:lnTo>
                    <a:pt x="374" y="295"/>
                  </a:lnTo>
                  <a:lnTo>
                    <a:pt x="368" y="303"/>
                  </a:lnTo>
                  <a:lnTo>
                    <a:pt x="362" y="310"/>
                  </a:lnTo>
                  <a:lnTo>
                    <a:pt x="357" y="318"/>
                  </a:lnTo>
                  <a:lnTo>
                    <a:pt x="353" y="326"/>
                  </a:lnTo>
                  <a:lnTo>
                    <a:pt x="349" y="334"/>
                  </a:lnTo>
                  <a:lnTo>
                    <a:pt x="345" y="342"/>
                  </a:lnTo>
                  <a:lnTo>
                    <a:pt x="342" y="351"/>
                  </a:lnTo>
                  <a:lnTo>
                    <a:pt x="339" y="360"/>
                  </a:lnTo>
                  <a:lnTo>
                    <a:pt x="337" y="368"/>
                  </a:lnTo>
                  <a:lnTo>
                    <a:pt x="335" y="377"/>
                  </a:lnTo>
                  <a:lnTo>
                    <a:pt x="334" y="386"/>
                  </a:lnTo>
                  <a:lnTo>
                    <a:pt x="333" y="395"/>
                  </a:lnTo>
                  <a:lnTo>
                    <a:pt x="333" y="404"/>
                  </a:lnTo>
                  <a:lnTo>
                    <a:pt x="333" y="414"/>
                  </a:lnTo>
                  <a:lnTo>
                    <a:pt x="334" y="422"/>
                  </a:lnTo>
                  <a:lnTo>
                    <a:pt x="335" y="430"/>
                  </a:lnTo>
                  <a:lnTo>
                    <a:pt x="337" y="438"/>
                  </a:lnTo>
                  <a:lnTo>
                    <a:pt x="339" y="446"/>
                  </a:lnTo>
                  <a:lnTo>
                    <a:pt x="342" y="454"/>
                  </a:lnTo>
                  <a:lnTo>
                    <a:pt x="344" y="462"/>
                  </a:lnTo>
                  <a:lnTo>
                    <a:pt x="348" y="470"/>
                  </a:lnTo>
                  <a:lnTo>
                    <a:pt x="351" y="477"/>
                  </a:lnTo>
                  <a:lnTo>
                    <a:pt x="355" y="484"/>
                  </a:lnTo>
                  <a:lnTo>
                    <a:pt x="360" y="491"/>
                  </a:lnTo>
                  <a:lnTo>
                    <a:pt x="369" y="504"/>
                  </a:lnTo>
                  <a:lnTo>
                    <a:pt x="380" y="516"/>
                  </a:lnTo>
                  <a:lnTo>
                    <a:pt x="386" y="522"/>
                  </a:lnTo>
                  <a:lnTo>
                    <a:pt x="392" y="527"/>
                  </a:lnTo>
                  <a:lnTo>
                    <a:pt x="405" y="538"/>
                  </a:lnTo>
                  <a:lnTo>
                    <a:pt x="412" y="542"/>
                  </a:lnTo>
                  <a:lnTo>
                    <a:pt x="419" y="547"/>
                  </a:lnTo>
                  <a:lnTo>
                    <a:pt x="434" y="555"/>
                  </a:lnTo>
                  <a:lnTo>
                    <a:pt x="442" y="558"/>
                  </a:lnTo>
                  <a:lnTo>
                    <a:pt x="450" y="561"/>
                  </a:lnTo>
                  <a:lnTo>
                    <a:pt x="466" y="566"/>
                  </a:lnTo>
                  <a:lnTo>
                    <a:pt x="475" y="569"/>
                  </a:lnTo>
                  <a:lnTo>
                    <a:pt x="484" y="570"/>
                  </a:lnTo>
                  <a:lnTo>
                    <a:pt x="492" y="572"/>
                  </a:lnTo>
                  <a:lnTo>
                    <a:pt x="501" y="573"/>
                  </a:lnTo>
                  <a:lnTo>
                    <a:pt x="519" y="573"/>
                  </a:lnTo>
                  <a:lnTo>
                    <a:pt x="534" y="573"/>
                  </a:lnTo>
                  <a:lnTo>
                    <a:pt x="544" y="572"/>
                  </a:lnTo>
                  <a:lnTo>
                    <a:pt x="553" y="571"/>
                  </a:lnTo>
                  <a:lnTo>
                    <a:pt x="563" y="569"/>
                  </a:lnTo>
                  <a:lnTo>
                    <a:pt x="572" y="567"/>
                  </a:lnTo>
                  <a:lnTo>
                    <a:pt x="581" y="564"/>
                  </a:lnTo>
                  <a:lnTo>
                    <a:pt x="590" y="561"/>
                  </a:lnTo>
                  <a:lnTo>
                    <a:pt x="598" y="558"/>
                  </a:lnTo>
                  <a:lnTo>
                    <a:pt x="607" y="554"/>
                  </a:lnTo>
                  <a:lnTo>
                    <a:pt x="615" y="550"/>
                  </a:lnTo>
                  <a:lnTo>
                    <a:pt x="623" y="546"/>
                  </a:lnTo>
                  <a:lnTo>
                    <a:pt x="630" y="541"/>
                  </a:lnTo>
                  <a:lnTo>
                    <a:pt x="637" y="536"/>
                  </a:lnTo>
                  <a:lnTo>
                    <a:pt x="645" y="531"/>
                  </a:lnTo>
                  <a:lnTo>
                    <a:pt x="651" y="525"/>
                  </a:lnTo>
                  <a:lnTo>
                    <a:pt x="658" y="519"/>
                  </a:lnTo>
                  <a:lnTo>
                    <a:pt x="664" y="513"/>
                  </a:lnTo>
                  <a:lnTo>
                    <a:pt x="670" y="507"/>
                  </a:lnTo>
                  <a:lnTo>
                    <a:pt x="675" y="500"/>
                  </a:lnTo>
                  <a:lnTo>
                    <a:pt x="685" y="486"/>
                  </a:lnTo>
                  <a:lnTo>
                    <a:pt x="690" y="479"/>
                  </a:lnTo>
                  <a:lnTo>
                    <a:pt x="694" y="471"/>
                  </a:lnTo>
                  <a:lnTo>
                    <a:pt x="701" y="455"/>
                  </a:lnTo>
                  <a:lnTo>
                    <a:pt x="703" y="447"/>
                  </a:lnTo>
                  <a:lnTo>
                    <a:pt x="706" y="439"/>
                  </a:lnTo>
                  <a:lnTo>
                    <a:pt x="708" y="430"/>
                  </a:lnTo>
                  <a:lnTo>
                    <a:pt x="709" y="422"/>
                  </a:lnTo>
                  <a:lnTo>
                    <a:pt x="710" y="413"/>
                  </a:lnTo>
                  <a:lnTo>
                    <a:pt x="711" y="405"/>
                  </a:lnTo>
                  <a:lnTo>
                    <a:pt x="711" y="396"/>
                  </a:lnTo>
                  <a:lnTo>
                    <a:pt x="711" y="387"/>
                  </a:lnTo>
                  <a:lnTo>
                    <a:pt x="709" y="375"/>
                  </a:lnTo>
                  <a:lnTo>
                    <a:pt x="707" y="364"/>
                  </a:lnTo>
                  <a:lnTo>
                    <a:pt x="704" y="352"/>
                  </a:lnTo>
                  <a:lnTo>
                    <a:pt x="701" y="341"/>
                  </a:lnTo>
                  <a:lnTo>
                    <a:pt x="696" y="331"/>
                  </a:lnTo>
                  <a:lnTo>
                    <a:pt x="691" y="320"/>
                  </a:lnTo>
                  <a:lnTo>
                    <a:pt x="685" y="310"/>
                  </a:lnTo>
                  <a:lnTo>
                    <a:pt x="678" y="301"/>
                  </a:lnTo>
                  <a:lnTo>
                    <a:pt x="674" y="296"/>
                  </a:lnTo>
                  <a:lnTo>
                    <a:pt x="670" y="292"/>
                  </a:lnTo>
                  <a:lnTo>
                    <a:pt x="662" y="283"/>
                  </a:lnTo>
                  <a:lnTo>
                    <a:pt x="653" y="275"/>
                  </a:lnTo>
                  <a:lnTo>
                    <a:pt x="649" y="271"/>
                  </a:lnTo>
                  <a:lnTo>
                    <a:pt x="644" y="267"/>
                  </a:lnTo>
                  <a:lnTo>
                    <a:pt x="634" y="260"/>
                  </a:lnTo>
                  <a:lnTo>
                    <a:pt x="624" y="254"/>
                  </a:lnTo>
                  <a:lnTo>
                    <a:pt x="612" y="248"/>
                  </a:lnTo>
                  <a:lnTo>
                    <a:pt x="601" y="243"/>
                  </a:lnTo>
                  <a:lnTo>
                    <a:pt x="599" y="242"/>
                  </a:lnTo>
                  <a:lnTo>
                    <a:pt x="597" y="240"/>
                  </a:lnTo>
                  <a:lnTo>
                    <a:pt x="596" y="239"/>
                  </a:lnTo>
                  <a:lnTo>
                    <a:pt x="595" y="237"/>
                  </a:lnTo>
                  <a:lnTo>
                    <a:pt x="594" y="234"/>
                  </a:lnTo>
                  <a:lnTo>
                    <a:pt x="594" y="232"/>
                  </a:lnTo>
                  <a:lnTo>
                    <a:pt x="595" y="230"/>
                  </a:lnTo>
                  <a:lnTo>
                    <a:pt x="595" y="228"/>
                  </a:lnTo>
                  <a:lnTo>
                    <a:pt x="600" y="221"/>
                  </a:lnTo>
                  <a:lnTo>
                    <a:pt x="604" y="214"/>
                  </a:lnTo>
                  <a:lnTo>
                    <a:pt x="610" y="207"/>
                  </a:lnTo>
                  <a:lnTo>
                    <a:pt x="615" y="201"/>
                  </a:lnTo>
                  <a:lnTo>
                    <a:pt x="621" y="196"/>
                  </a:lnTo>
                  <a:lnTo>
                    <a:pt x="627" y="190"/>
                  </a:lnTo>
                  <a:lnTo>
                    <a:pt x="634" y="186"/>
                  </a:lnTo>
                  <a:lnTo>
                    <a:pt x="641" y="181"/>
                  </a:lnTo>
                  <a:lnTo>
                    <a:pt x="648" y="177"/>
                  </a:lnTo>
                  <a:lnTo>
                    <a:pt x="655" y="174"/>
                  </a:lnTo>
                  <a:lnTo>
                    <a:pt x="663" y="171"/>
                  </a:lnTo>
                  <a:lnTo>
                    <a:pt x="670" y="169"/>
                  </a:lnTo>
                  <a:lnTo>
                    <a:pt x="678" y="167"/>
                  </a:lnTo>
                  <a:lnTo>
                    <a:pt x="686" y="165"/>
                  </a:lnTo>
                  <a:lnTo>
                    <a:pt x="695" y="164"/>
                  </a:lnTo>
                  <a:lnTo>
                    <a:pt x="703" y="164"/>
                  </a:lnTo>
                  <a:lnTo>
                    <a:pt x="713" y="165"/>
                  </a:lnTo>
                  <a:lnTo>
                    <a:pt x="722" y="166"/>
                  </a:lnTo>
                  <a:lnTo>
                    <a:pt x="733" y="168"/>
                  </a:lnTo>
                  <a:lnTo>
                    <a:pt x="742" y="170"/>
                  </a:lnTo>
                  <a:lnTo>
                    <a:pt x="751" y="174"/>
                  </a:lnTo>
                  <a:lnTo>
                    <a:pt x="760" y="178"/>
                  </a:lnTo>
                  <a:lnTo>
                    <a:pt x="768" y="182"/>
                  </a:lnTo>
                  <a:lnTo>
                    <a:pt x="776" y="188"/>
                  </a:lnTo>
                  <a:lnTo>
                    <a:pt x="777" y="173"/>
                  </a:lnTo>
                  <a:lnTo>
                    <a:pt x="778" y="163"/>
                  </a:lnTo>
                  <a:lnTo>
                    <a:pt x="779" y="152"/>
                  </a:lnTo>
                  <a:lnTo>
                    <a:pt x="781" y="140"/>
                  </a:lnTo>
                  <a:lnTo>
                    <a:pt x="783" y="127"/>
                  </a:lnTo>
                  <a:lnTo>
                    <a:pt x="786" y="114"/>
                  </a:lnTo>
                  <a:lnTo>
                    <a:pt x="790" y="100"/>
                  </a:lnTo>
                  <a:lnTo>
                    <a:pt x="795" y="86"/>
                  </a:lnTo>
                  <a:lnTo>
                    <a:pt x="798" y="79"/>
                  </a:lnTo>
                  <a:lnTo>
                    <a:pt x="801" y="72"/>
                  </a:lnTo>
                  <a:lnTo>
                    <a:pt x="805" y="66"/>
                  </a:lnTo>
                  <a:lnTo>
                    <a:pt x="808" y="59"/>
                  </a:lnTo>
                  <a:lnTo>
                    <a:pt x="812" y="52"/>
                  </a:lnTo>
                  <a:lnTo>
                    <a:pt x="815" y="49"/>
                  </a:lnTo>
                  <a:lnTo>
                    <a:pt x="817" y="46"/>
                  </a:lnTo>
                  <a:lnTo>
                    <a:pt x="822" y="39"/>
                  </a:lnTo>
                  <a:lnTo>
                    <a:pt x="827" y="33"/>
                  </a:lnTo>
                  <a:lnTo>
                    <a:pt x="832" y="27"/>
                  </a:lnTo>
                  <a:lnTo>
                    <a:pt x="838" y="21"/>
                  </a:lnTo>
                  <a:lnTo>
                    <a:pt x="844" y="16"/>
                  </a:lnTo>
                  <a:lnTo>
                    <a:pt x="851" y="11"/>
                  </a:lnTo>
                  <a:lnTo>
                    <a:pt x="858" y="6"/>
                  </a:lnTo>
                  <a:lnTo>
                    <a:pt x="865" y="1"/>
                  </a:lnTo>
                  <a:lnTo>
                    <a:pt x="868" y="0"/>
                  </a:lnTo>
                  <a:lnTo>
                    <a:pt x="871" y="0"/>
                  </a:lnTo>
                  <a:lnTo>
                    <a:pt x="873" y="0"/>
                  </a:lnTo>
                  <a:lnTo>
                    <a:pt x="876" y="1"/>
                  </a:lnTo>
                  <a:lnTo>
                    <a:pt x="883" y="6"/>
                  </a:lnTo>
                  <a:lnTo>
                    <a:pt x="891" y="11"/>
                  </a:lnTo>
                  <a:lnTo>
                    <a:pt x="897" y="16"/>
                  </a:lnTo>
                  <a:lnTo>
                    <a:pt x="903" y="21"/>
                  </a:lnTo>
                  <a:lnTo>
                    <a:pt x="909" y="27"/>
                  </a:lnTo>
                  <a:lnTo>
                    <a:pt x="915" y="33"/>
                  </a:lnTo>
                  <a:lnTo>
                    <a:pt x="920" y="39"/>
                  </a:lnTo>
                  <a:lnTo>
                    <a:pt x="924" y="46"/>
                  </a:lnTo>
                  <a:lnTo>
                    <a:pt x="933" y="59"/>
                  </a:lnTo>
                  <a:lnTo>
                    <a:pt x="940" y="72"/>
                  </a:lnTo>
                  <a:lnTo>
                    <a:pt x="946" y="86"/>
                  </a:lnTo>
                  <a:lnTo>
                    <a:pt x="951" y="100"/>
                  </a:lnTo>
                  <a:lnTo>
                    <a:pt x="955" y="114"/>
                  </a:lnTo>
                  <a:lnTo>
                    <a:pt x="958" y="127"/>
                  </a:lnTo>
                  <a:lnTo>
                    <a:pt x="961" y="140"/>
                  </a:lnTo>
                  <a:lnTo>
                    <a:pt x="962" y="152"/>
                  </a:lnTo>
                  <a:lnTo>
                    <a:pt x="964" y="173"/>
                  </a:lnTo>
                  <a:lnTo>
                    <a:pt x="965" y="188"/>
                  </a:lnTo>
                  <a:lnTo>
                    <a:pt x="973" y="182"/>
                  </a:lnTo>
                  <a:lnTo>
                    <a:pt x="981" y="178"/>
                  </a:lnTo>
                  <a:lnTo>
                    <a:pt x="990" y="174"/>
                  </a:lnTo>
                  <a:lnTo>
                    <a:pt x="999" y="170"/>
                  </a:lnTo>
                  <a:lnTo>
                    <a:pt x="1008" y="168"/>
                  </a:lnTo>
                  <a:lnTo>
                    <a:pt x="1018" y="166"/>
                  </a:lnTo>
                  <a:lnTo>
                    <a:pt x="1027" y="165"/>
                  </a:lnTo>
                  <a:lnTo>
                    <a:pt x="1037" y="164"/>
                  </a:lnTo>
                  <a:lnTo>
                    <a:pt x="1046" y="164"/>
                  </a:lnTo>
                  <a:lnTo>
                    <a:pt x="1054" y="165"/>
                  </a:lnTo>
                  <a:lnTo>
                    <a:pt x="1058" y="166"/>
                  </a:lnTo>
                  <a:lnTo>
                    <a:pt x="1062" y="167"/>
                  </a:lnTo>
                  <a:lnTo>
                    <a:pt x="1070" y="169"/>
                  </a:lnTo>
                  <a:lnTo>
                    <a:pt x="1078" y="171"/>
                  </a:lnTo>
                  <a:lnTo>
                    <a:pt x="1085" y="174"/>
                  </a:lnTo>
                  <a:lnTo>
                    <a:pt x="1093" y="177"/>
                  </a:lnTo>
                  <a:lnTo>
                    <a:pt x="1100" y="181"/>
                  </a:lnTo>
                  <a:lnTo>
                    <a:pt x="1107" y="186"/>
                  </a:lnTo>
                  <a:lnTo>
                    <a:pt x="1113" y="190"/>
                  </a:lnTo>
                  <a:lnTo>
                    <a:pt x="1119" y="196"/>
                  </a:lnTo>
                  <a:lnTo>
                    <a:pt x="1125" y="201"/>
                  </a:lnTo>
                  <a:lnTo>
                    <a:pt x="1131" y="207"/>
                  </a:lnTo>
                  <a:lnTo>
                    <a:pt x="1136" y="214"/>
                  </a:lnTo>
                  <a:lnTo>
                    <a:pt x="1141" y="221"/>
                  </a:lnTo>
                  <a:lnTo>
                    <a:pt x="1145" y="228"/>
                  </a:lnTo>
                  <a:lnTo>
                    <a:pt x="1146" y="230"/>
                  </a:lnTo>
                  <a:lnTo>
                    <a:pt x="1146" y="232"/>
                  </a:lnTo>
                  <a:lnTo>
                    <a:pt x="1146" y="234"/>
                  </a:lnTo>
                  <a:lnTo>
                    <a:pt x="1146" y="237"/>
                  </a:lnTo>
                  <a:lnTo>
                    <a:pt x="1145" y="239"/>
                  </a:lnTo>
                  <a:lnTo>
                    <a:pt x="1143" y="240"/>
                  </a:lnTo>
                  <a:lnTo>
                    <a:pt x="1141" y="242"/>
                  </a:lnTo>
                  <a:lnTo>
                    <a:pt x="1139" y="243"/>
                  </a:lnTo>
                  <a:lnTo>
                    <a:pt x="1134" y="245"/>
                  </a:lnTo>
                  <a:lnTo>
                    <a:pt x="1128" y="248"/>
                  </a:lnTo>
                  <a:lnTo>
                    <a:pt x="1117" y="254"/>
                  </a:lnTo>
                  <a:lnTo>
                    <a:pt x="1106" y="260"/>
                  </a:lnTo>
                  <a:lnTo>
                    <a:pt x="1096" y="267"/>
                  </a:lnTo>
                  <a:lnTo>
                    <a:pt x="1087" y="275"/>
                  </a:lnTo>
                  <a:lnTo>
                    <a:pt x="1082" y="279"/>
                  </a:lnTo>
                  <a:lnTo>
                    <a:pt x="1078" y="283"/>
                  </a:lnTo>
                  <a:lnTo>
                    <a:pt x="1070" y="292"/>
                  </a:lnTo>
                  <a:lnTo>
                    <a:pt x="1062" y="301"/>
                  </a:lnTo>
                  <a:lnTo>
                    <a:pt x="1056" y="310"/>
                  </a:lnTo>
                  <a:lnTo>
                    <a:pt x="1053" y="315"/>
                  </a:lnTo>
                  <a:lnTo>
                    <a:pt x="1050" y="320"/>
                  </a:lnTo>
                  <a:lnTo>
                    <a:pt x="1044" y="331"/>
                  </a:lnTo>
                  <a:lnTo>
                    <a:pt x="1042" y="336"/>
                  </a:lnTo>
                  <a:lnTo>
                    <a:pt x="1040" y="341"/>
                  </a:lnTo>
                  <a:lnTo>
                    <a:pt x="1038" y="347"/>
                  </a:lnTo>
                  <a:lnTo>
                    <a:pt x="1036" y="352"/>
                  </a:lnTo>
                  <a:lnTo>
                    <a:pt x="1033" y="364"/>
                  </a:lnTo>
                  <a:lnTo>
                    <a:pt x="1031" y="375"/>
                  </a:lnTo>
                  <a:lnTo>
                    <a:pt x="1030" y="387"/>
                  </a:lnTo>
                  <a:lnTo>
                    <a:pt x="1029" y="396"/>
                  </a:lnTo>
                  <a:lnTo>
                    <a:pt x="1029" y="405"/>
                  </a:lnTo>
                  <a:lnTo>
                    <a:pt x="1030" y="413"/>
                  </a:lnTo>
                  <a:lnTo>
                    <a:pt x="1031" y="422"/>
                  </a:lnTo>
                  <a:lnTo>
                    <a:pt x="1032" y="430"/>
                  </a:lnTo>
                  <a:lnTo>
                    <a:pt x="1034" y="439"/>
                  </a:lnTo>
                  <a:lnTo>
                    <a:pt x="1037" y="447"/>
                  </a:lnTo>
                  <a:lnTo>
                    <a:pt x="1040" y="455"/>
                  </a:lnTo>
                  <a:lnTo>
                    <a:pt x="1043" y="464"/>
                  </a:lnTo>
                  <a:lnTo>
                    <a:pt x="1047" y="471"/>
                  </a:lnTo>
                  <a:lnTo>
                    <a:pt x="1051" y="479"/>
                  </a:lnTo>
                  <a:lnTo>
                    <a:pt x="1055" y="486"/>
                  </a:lnTo>
                  <a:lnTo>
                    <a:pt x="1060" y="493"/>
                  </a:lnTo>
                  <a:lnTo>
                    <a:pt x="1065" y="500"/>
                  </a:lnTo>
                  <a:lnTo>
                    <a:pt x="1070" y="507"/>
                  </a:lnTo>
                  <a:lnTo>
                    <a:pt x="1076" y="513"/>
                  </a:lnTo>
                  <a:lnTo>
                    <a:pt x="1082" y="519"/>
                  </a:lnTo>
                  <a:lnTo>
                    <a:pt x="1089" y="525"/>
                  </a:lnTo>
                  <a:lnTo>
                    <a:pt x="1103" y="536"/>
                  </a:lnTo>
                  <a:lnTo>
                    <a:pt x="1110" y="541"/>
                  </a:lnTo>
                  <a:lnTo>
                    <a:pt x="1118" y="546"/>
                  </a:lnTo>
                  <a:lnTo>
                    <a:pt x="1134" y="554"/>
                  </a:lnTo>
                  <a:lnTo>
                    <a:pt x="1142" y="558"/>
                  </a:lnTo>
                  <a:lnTo>
                    <a:pt x="1151" y="561"/>
                  </a:lnTo>
                  <a:lnTo>
                    <a:pt x="1159" y="564"/>
                  </a:lnTo>
                  <a:lnTo>
                    <a:pt x="1168" y="567"/>
                  </a:lnTo>
                  <a:lnTo>
                    <a:pt x="1178" y="569"/>
                  </a:lnTo>
                  <a:lnTo>
                    <a:pt x="1187" y="571"/>
                  </a:lnTo>
                  <a:lnTo>
                    <a:pt x="1196" y="572"/>
                  </a:lnTo>
                  <a:lnTo>
                    <a:pt x="1206" y="573"/>
                  </a:lnTo>
                  <a:lnTo>
                    <a:pt x="1221" y="573"/>
                  </a:lnTo>
                  <a:lnTo>
                    <a:pt x="1239" y="573"/>
                  </a:lnTo>
                  <a:lnTo>
                    <a:pt x="1248" y="572"/>
                  </a:lnTo>
                  <a:lnTo>
                    <a:pt x="1257" y="570"/>
                  </a:lnTo>
                  <a:lnTo>
                    <a:pt x="1274" y="566"/>
                  </a:lnTo>
                  <a:lnTo>
                    <a:pt x="1290" y="561"/>
                  </a:lnTo>
                  <a:lnTo>
                    <a:pt x="1306" y="555"/>
                  </a:lnTo>
                  <a:lnTo>
                    <a:pt x="1314" y="551"/>
                  </a:lnTo>
                  <a:lnTo>
                    <a:pt x="1321" y="547"/>
                  </a:lnTo>
                  <a:lnTo>
                    <a:pt x="1328" y="542"/>
                  </a:lnTo>
                  <a:lnTo>
                    <a:pt x="1335" y="538"/>
                  </a:lnTo>
                  <a:lnTo>
                    <a:pt x="1342" y="533"/>
                  </a:lnTo>
                  <a:lnTo>
                    <a:pt x="1348" y="527"/>
                  </a:lnTo>
                  <a:lnTo>
                    <a:pt x="1354" y="522"/>
                  </a:lnTo>
                  <a:lnTo>
                    <a:pt x="1360" y="516"/>
                  </a:lnTo>
                  <a:lnTo>
                    <a:pt x="1366" y="510"/>
                  </a:lnTo>
                  <a:lnTo>
                    <a:pt x="1371" y="504"/>
                  </a:lnTo>
                  <a:lnTo>
                    <a:pt x="1376" y="498"/>
                  </a:lnTo>
                  <a:lnTo>
                    <a:pt x="1381" y="491"/>
                  </a:lnTo>
                  <a:lnTo>
                    <a:pt x="1385" y="484"/>
                  </a:lnTo>
                  <a:lnTo>
                    <a:pt x="1389" y="477"/>
                  </a:lnTo>
                  <a:lnTo>
                    <a:pt x="1393" y="470"/>
                  </a:lnTo>
                  <a:lnTo>
                    <a:pt x="1396" y="462"/>
                  </a:lnTo>
                  <a:lnTo>
                    <a:pt x="1401" y="446"/>
                  </a:lnTo>
                  <a:lnTo>
                    <a:pt x="1403" y="438"/>
                  </a:lnTo>
                  <a:lnTo>
                    <a:pt x="1405" y="430"/>
                  </a:lnTo>
                  <a:lnTo>
                    <a:pt x="1406" y="422"/>
                  </a:lnTo>
                  <a:lnTo>
                    <a:pt x="1407" y="414"/>
                  </a:lnTo>
                  <a:lnTo>
                    <a:pt x="1407" y="404"/>
                  </a:lnTo>
                  <a:lnTo>
                    <a:pt x="1407" y="395"/>
                  </a:lnTo>
                  <a:lnTo>
                    <a:pt x="1406" y="386"/>
                  </a:lnTo>
                  <a:lnTo>
                    <a:pt x="1405" y="377"/>
                  </a:lnTo>
                  <a:lnTo>
                    <a:pt x="1404" y="368"/>
                  </a:lnTo>
                  <a:lnTo>
                    <a:pt x="1401" y="360"/>
                  </a:lnTo>
                  <a:lnTo>
                    <a:pt x="1399" y="351"/>
                  </a:lnTo>
                  <a:lnTo>
                    <a:pt x="1395" y="342"/>
                  </a:lnTo>
                  <a:lnTo>
                    <a:pt x="1392" y="334"/>
                  </a:lnTo>
                  <a:lnTo>
                    <a:pt x="1388" y="326"/>
                  </a:lnTo>
                  <a:lnTo>
                    <a:pt x="1383" y="318"/>
                  </a:lnTo>
                  <a:lnTo>
                    <a:pt x="1378" y="310"/>
                  </a:lnTo>
                  <a:lnTo>
                    <a:pt x="1372" y="303"/>
                  </a:lnTo>
                  <a:lnTo>
                    <a:pt x="1366" y="295"/>
                  </a:lnTo>
                  <a:lnTo>
                    <a:pt x="1360" y="288"/>
                  </a:lnTo>
                  <a:lnTo>
                    <a:pt x="1353" y="281"/>
                  </a:lnTo>
                  <a:lnTo>
                    <a:pt x="1352" y="280"/>
                  </a:lnTo>
                  <a:lnTo>
                    <a:pt x="1351" y="278"/>
                  </a:lnTo>
                  <a:lnTo>
                    <a:pt x="1350" y="276"/>
                  </a:lnTo>
                  <a:lnTo>
                    <a:pt x="1350" y="274"/>
                  </a:lnTo>
                  <a:lnTo>
                    <a:pt x="1350" y="270"/>
                  </a:lnTo>
                  <a:lnTo>
                    <a:pt x="1353" y="266"/>
                  </a:lnTo>
                  <a:lnTo>
                    <a:pt x="1357" y="262"/>
                  </a:lnTo>
                  <a:lnTo>
                    <a:pt x="1362" y="257"/>
                  </a:lnTo>
                  <a:lnTo>
                    <a:pt x="1367" y="253"/>
                  </a:lnTo>
                  <a:lnTo>
                    <a:pt x="1372" y="249"/>
                  </a:lnTo>
                  <a:lnTo>
                    <a:pt x="1383" y="242"/>
                  </a:lnTo>
                  <a:lnTo>
                    <a:pt x="1388" y="239"/>
                  </a:lnTo>
                  <a:lnTo>
                    <a:pt x="1394" y="236"/>
                  </a:lnTo>
                  <a:lnTo>
                    <a:pt x="1400" y="234"/>
                  </a:lnTo>
                  <a:lnTo>
                    <a:pt x="1406" y="232"/>
                  </a:lnTo>
                  <a:lnTo>
                    <a:pt x="1412" y="230"/>
                  </a:lnTo>
                  <a:lnTo>
                    <a:pt x="1418" y="228"/>
                  </a:lnTo>
                  <a:lnTo>
                    <a:pt x="1424" y="227"/>
                  </a:lnTo>
                  <a:lnTo>
                    <a:pt x="1431" y="226"/>
                  </a:lnTo>
                  <a:lnTo>
                    <a:pt x="1444" y="226"/>
                  </a:lnTo>
                  <a:lnTo>
                    <a:pt x="1452" y="226"/>
                  </a:lnTo>
                  <a:lnTo>
                    <a:pt x="1460" y="227"/>
                  </a:lnTo>
                  <a:lnTo>
                    <a:pt x="1468" y="228"/>
                  </a:lnTo>
                  <a:lnTo>
                    <a:pt x="1476" y="230"/>
                  </a:lnTo>
                  <a:lnTo>
                    <a:pt x="1483" y="232"/>
                  </a:lnTo>
                  <a:lnTo>
                    <a:pt x="1491" y="235"/>
                  </a:lnTo>
                  <a:lnTo>
                    <a:pt x="1498" y="238"/>
                  </a:lnTo>
                  <a:lnTo>
                    <a:pt x="1505" y="242"/>
                  </a:lnTo>
                  <a:lnTo>
                    <a:pt x="1512" y="246"/>
                  </a:lnTo>
                  <a:lnTo>
                    <a:pt x="1518" y="251"/>
                  </a:lnTo>
                  <a:lnTo>
                    <a:pt x="1525" y="256"/>
                  </a:lnTo>
                  <a:lnTo>
                    <a:pt x="1530" y="261"/>
                  </a:lnTo>
                  <a:lnTo>
                    <a:pt x="1536" y="267"/>
                  </a:lnTo>
                  <a:lnTo>
                    <a:pt x="1541" y="273"/>
                  </a:lnTo>
                  <a:lnTo>
                    <a:pt x="1546" y="280"/>
                  </a:lnTo>
                  <a:lnTo>
                    <a:pt x="1550" y="287"/>
                  </a:lnTo>
                  <a:lnTo>
                    <a:pt x="1560" y="275"/>
                  </a:lnTo>
                  <a:lnTo>
                    <a:pt x="1574" y="259"/>
                  </a:lnTo>
                  <a:lnTo>
                    <a:pt x="1582" y="250"/>
                  </a:lnTo>
                  <a:lnTo>
                    <a:pt x="1591" y="241"/>
                  </a:lnTo>
                  <a:lnTo>
                    <a:pt x="1602" y="232"/>
                  </a:lnTo>
                  <a:lnTo>
                    <a:pt x="1613" y="223"/>
                  </a:lnTo>
                  <a:lnTo>
                    <a:pt x="1625" y="214"/>
                  </a:lnTo>
                  <a:lnTo>
                    <a:pt x="1638" y="205"/>
                  </a:lnTo>
                  <a:lnTo>
                    <a:pt x="1651" y="198"/>
                  </a:lnTo>
                  <a:lnTo>
                    <a:pt x="1666" y="191"/>
                  </a:lnTo>
                  <a:lnTo>
                    <a:pt x="1673" y="188"/>
                  </a:lnTo>
                  <a:lnTo>
                    <a:pt x="1681" y="186"/>
                  </a:lnTo>
                  <a:lnTo>
                    <a:pt x="1688" y="183"/>
                  </a:lnTo>
                  <a:lnTo>
                    <a:pt x="1696" y="181"/>
                  </a:lnTo>
                  <a:lnTo>
                    <a:pt x="1704" y="180"/>
                  </a:lnTo>
                  <a:lnTo>
                    <a:pt x="1712" y="179"/>
                  </a:lnTo>
                  <a:lnTo>
                    <a:pt x="1720" y="178"/>
                  </a:lnTo>
                  <a:lnTo>
                    <a:pt x="1729" y="178"/>
                  </a:lnTo>
                  <a:close/>
                  <a:moveTo>
                    <a:pt x="1450" y="807"/>
                  </a:moveTo>
                  <a:lnTo>
                    <a:pt x="1453" y="807"/>
                  </a:lnTo>
                  <a:lnTo>
                    <a:pt x="1455" y="808"/>
                  </a:lnTo>
                  <a:lnTo>
                    <a:pt x="1457" y="810"/>
                  </a:lnTo>
                  <a:lnTo>
                    <a:pt x="1458" y="812"/>
                  </a:lnTo>
                  <a:lnTo>
                    <a:pt x="1459" y="814"/>
                  </a:lnTo>
                  <a:lnTo>
                    <a:pt x="1460" y="816"/>
                  </a:lnTo>
                  <a:lnTo>
                    <a:pt x="1460" y="819"/>
                  </a:lnTo>
                  <a:lnTo>
                    <a:pt x="1459" y="821"/>
                  </a:lnTo>
                  <a:lnTo>
                    <a:pt x="1439" y="885"/>
                  </a:lnTo>
                  <a:lnTo>
                    <a:pt x="1438" y="886"/>
                  </a:lnTo>
                  <a:lnTo>
                    <a:pt x="1437" y="888"/>
                  </a:lnTo>
                  <a:lnTo>
                    <a:pt x="1435" y="890"/>
                  </a:lnTo>
                  <a:lnTo>
                    <a:pt x="1432" y="892"/>
                  </a:lnTo>
                  <a:lnTo>
                    <a:pt x="1428" y="892"/>
                  </a:lnTo>
                  <a:lnTo>
                    <a:pt x="1374" y="887"/>
                  </a:lnTo>
                  <a:lnTo>
                    <a:pt x="1313" y="881"/>
                  </a:lnTo>
                  <a:lnTo>
                    <a:pt x="1245" y="876"/>
                  </a:lnTo>
                  <a:lnTo>
                    <a:pt x="1174" y="871"/>
                  </a:lnTo>
                  <a:lnTo>
                    <a:pt x="1099" y="867"/>
                  </a:lnTo>
                  <a:lnTo>
                    <a:pt x="1023" y="863"/>
                  </a:lnTo>
                  <a:lnTo>
                    <a:pt x="984" y="862"/>
                  </a:lnTo>
                  <a:lnTo>
                    <a:pt x="946" y="861"/>
                  </a:lnTo>
                  <a:lnTo>
                    <a:pt x="871" y="861"/>
                  </a:lnTo>
                  <a:lnTo>
                    <a:pt x="795" y="861"/>
                  </a:lnTo>
                  <a:lnTo>
                    <a:pt x="718" y="863"/>
                  </a:lnTo>
                  <a:lnTo>
                    <a:pt x="641" y="867"/>
                  </a:lnTo>
                  <a:lnTo>
                    <a:pt x="567" y="871"/>
                  </a:lnTo>
                  <a:lnTo>
                    <a:pt x="495" y="876"/>
                  </a:lnTo>
                  <a:lnTo>
                    <a:pt x="428" y="881"/>
                  </a:lnTo>
                  <a:lnTo>
                    <a:pt x="367" y="887"/>
                  </a:lnTo>
                  <a:lnTo>
                    <a:pt x="313" y="892"/>
                  </a:lnTo>
                  <a:lnTo>
                    <a:pt x="309" y="892"/>
                  </a:lnTo>
                  <a:lnTo>
                    <a:pt x="307" y="891"/>
                  </a:lnTo>
                  <a:lnTo>
                    <a:pt x="306" y="890"/>
                  </a:lnTo>
                  <a:lnTo>
                    <a:pt x="303" y="888"/>
                  </a:lnTo>
                  <a:lnTo>
                    <a:pt x="302" y="885"/>
                  </a:lnTo>
                  <a:lnTo>
                    <a:pt x="292" y="854"/>
                  </a:lnTo>
                  <a:lnTo>
                    <a:pt x="281" y="821"/>
                  </a:lnTo>
                  <a:lnTo>
                    <a:pt x="280" y="819"/>
                  </a:lnTo>
                  <a:lnTo>
                    <a:pt x="280" y="816"/>
                  </a:lnTo>
                  <a:lnTo>
                    <a:pt x="282" y="812"/>
                  </a:lnTo>
                  <a:lnTo>
                    <a:pt x="283" y="810"/>
                  </a:lnTo>
                  <a:lnTo>
                    <a:pt x="285" y="808"/>
                  </a:lnTo>
                  <a:lnTo>
                    <a:pt x="287" y="807"/>
                  </a:lnTo>
                  <a:lnTo>
                    <a:pt x="290" y="807"/>
                  </a:lnTo>
                  <a:lnTo>
                    <a:pt x="292" y="806"/>
                  </a:lnTo>
                  <a:lnTo>
                    <a:pt x="335" y="802"/>
                  </a:lnTo>
                  <a:lnTo>
                    <a:pt x="391" y="796"/>
                  </a:lnTo>
                  <a:lnTo>
                    <a:pt x="457" y="790"/>
                  </a:lnTo>
                  <a:lnTo>
                    <a:pt x="531" y="785"/>
                  </a:lnTo>
                  <a:lnTo>
                    <a:pt x="611" y="780"/>
                  </a:lnTo>
                  <a:lnTo>
                    <a:pt x="653" y="778"/>
                  </a:lnTo>
                  <a:lnTo>
                    <a:pt x="696" y="776"/>
                  </a:lnTo>
                  <a:lnTo>
                    <a:pt x="740" y="774"/>
                  </a:lnTo>
                  <a:lnTo>
                    <a:pt x="783" y="773"/>
                  </a:lnTo>
                  <a:lnTo>
                    <a:pt x="827" y="772"/>
                  </a:lnTo>
                  <a:lnTo>
                    <a:pt x="871" y="772"/>
                  </a:lnTo>
                  <a:lnTo>
                    <a:pt x="914" y="772"/>
                  </a:lnTo>
                  <a:lnTo>
                    <a:pt x="958" y="773"/>
                  </a:lnTo>
                  <a:lnTo>
                    <a:pt x="1001" y="774"/>
                  </a:lnTo>
                  <a:lnTo>
                    <a:pt x="1045" y="776"/>
                  </a:lnTo>
                  <a:lnTo>
                    <a:pt x="1129" y="780"/>
                  </a:lnTo>
                  <a:lnTo>
                    <a:pt x="1209" y="785"/>
                  </a:lnTo>
                  <a:lnTo>
                    <a:pt x="1283" y="790"/>
                  </a:lnTo>
                  <a:lnTo>
                    <a:pt x="1349" y="796"/>
                  </a:lnTo>
                  <a:lnTo>
                    <a:pt x="1405" y="802"/>
                  </a:lnTo>
                  <a:lnTo>
                    <a:pt x="1449" y="806"/>
                  </a:lnTo>
                  <a:lnTo>
                    <a:pt x="1450" y="807"/>
                  </a:lnTo>
                  <a:close/>
                </a:path>
              </a:pathLst>
            </a:custGeom>
            <a:solidFill>
              <a:srgbClr val="FD9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Freeform 7"/>
            <p:cNvSpPr>
              <a:spLocks noEditPoints="1"/>
            </p:cNvSpPr>
            <p:nvPr userDrawn="1"/>
          </p:nvSpPr>
          <p:spPr bwMode="auto">
            <a:xfrm>
              <a:off x="4287838" y="2951163"/>
              <a:ext cx="6440488" cy="1217612"/>
            </a:xfrm>
            <a:custGeom>
              <a:avLst/>
              <a:gdLst>
                <a:gd name="T0" fmla="*/ 3533 w 4057"/>
                <a:gd name="T1" fmla="*/ 11 h 767"/>
                <a:gd name="T2" fmla="*/ 3620 w 4057"/>
                <a:gd name="T3" fmla="*/ 37 h 767"/>
                <a:gd name="T4" fmla="*/ 4033 w 4057"/>
                <a:gd name="T5" fmla="*/ 15 h 767"/>
                <a:gd name="T6" fmla="*/ 4055 w 4057"/>
                <a:gd name="T7" fmla="*/ 724 h 767"/>
                <a:gd name="T8" fmla="*/ 4042 w 4057"/>
                <a:gd name="T9" fmla="*/ 755 h 767"/>
                <a:gd name="T10" fmla="*/ 3620 w 4057"/>
                <a:gd name="T11" fmla="*/ 736 h 767"/>
                <a:gd name="T12" fmla="*/ 3528 w 4057"/>
                <a:gd name="T13" fmla="*/ 756 h 767"/>
                <a:gd name="T14" fmla="*/ 330 w 4057"/>
                <a:gd name="T15" fmla="*/ 10 h 767"/>
                <a:gd name="T16" fmla="*/ 367 w 4057"/>
                <a:gd name="T17" fmla="*/ 4 h 767"/>
                <a:gd name="T18" fmla="*/ 693 w 4057"/>
                <a:gd name="T19" fmla="*/ 754 h 767"/>
                <a:gd name="T20" fmla="*/ 593 w 4057"/>
                <a:gd name="T21" fmla="*/ 744 h 767"/>
                <a:gd name="T22" fmla="*/ 21 w 4057"/>
                <a:gd name="T23" fmla="*/ 757 h 767"/>
                <a:gd name="T24" fmla="*/ 2 w 4057"/>
                <a:gd name="T25" fmla="*/ 729 h 767"/>
                <a:gd name="T26" fmla="*/ 827 w 4057"/>
                <a:gd name="T27" fmla="*/ 13 h 767"/>
                <a:gd name="T28" fmla="*/ 1180 w 4057"/>
                <a:gd name="T29" fmla="*/ 34 h 767"/>
                <a:gd name="T30" fmla="*/ 1281 w 4057"/>
                <a:gd name="T31" fmla="*/ 125 h 767"/>
                <a:gd name="T32" fmla="*/ 1315 w 4057"/>
                <a:gd name="T33" fmla="*/ 258 h 767"/>
                <a:gd name="T34" fmla="*/ 1268 w 4057"/>
                <a:gd name="T35" fmla="*/ 390 h 767"/>
                <a:gd name="T36" fmla="*/ 1159 w 4057"/>
                <a:gd name="T37" fmla="*/ 472 h 767"/>
                <a:gd name="T38" fmla="*/ 920 w 4057"/>
                <a:gd name="T39" fmla="*/ 747 h 767"/>
                <a:gd name="T40" fmla="*/ 816 w 4057"/>
                <a:gd name="T41" fmla="*/ 744 h 767"/>
                <a:gd name="T42" fmla="*/ 1135 w 4057"/>
                <a:gd name="T43" fmla="*/ 366 h 767"/>
                <a:gd name="T44" fmla="*/ 1203 w 4057"/>
                <a:gd name="T45" fmla="*/ 273 h 767"/>
                <a:gd name="T46" fmla="*/ 1189 w 4057"/>
                <a:gd name="T47" fmla="*/ 183 h 767"/>
                <a:gd name="T48" fmla="*/ 1098 w 4057"/>
                <a:gd name="T49" fmla="*/ 120 h 767"/>
                <a:gd name="T50" fmla="*/ 1899 w 4057"/>
                <a:gd name="T51" fmla="*/ 15 h 767"/>
                <a:gd name="T52" fmla="*/ 2058 w 4057"/>
                <a:gd name="T53" fmla="*/ 106 h 767"/>
                <a:gd name="T54" fmla="*/ 2153 w 4057"/>
                <a:gd name="T55" fmla="*/ 252 h 767"/>
                <a:gd name="T56" fmla="*/ 2169 w 4057"/>
                <a:gd name="T57" fmla="*/ 463 h 767"/>
                <a:gd name="T58" fmla="*/ 2089 w 4057"/>
                <a:gd name="T59" fmla="*/ 629 h 767"/>
                <a:gd name="T60" fmla="*/ 1960 w 4057"/>
                <a:gd name="T61" fmla="*/ 730 h 767"/>
                <a:gd name="T62" fmla="*/ 1773 w 4057"/>
                <a:gd name="T63" fmla="*/ 767 h 767"/>
                <a:gd name="T64" fmla="*/ 1578 w 4057"/>
                <a:gd name="T65" fmla="*/ 702 h 767"/>
                <a:gd name="T66" fmla="*/ 1466 w 4057"/>
                <a:gd name="T67" fmla="*/ 584 h 767"/>
                <a:gd name="T68" fmla="*/ 1411 w 4057"/>
                <a:gd name="T69" fmla="*/ 405 h 767"/>
                <a:gd name="T70" fmla="*/ 1448 w 4057"/>
                <a:gd name="T71" fmla="*/ 218 h 767"/>
                <a:gd name="T72" fmla="*/ 1563 w 4057"/>
                <a:gd name="T73" fmla="*/ 76 h 767"/>
                <a:gd name="T74" fmla="*/ 1725 w 4057"/>
                <a:gd name="T75" fmla="*/ 6 h 767"/>
                <a:gd name="T76" fmla="*/ 1888 w 4057"/>
                <a:gd name="T77" fmla="*/ 644 h 767"/>
                <a:gd name="T78" fmla="*/ 2007 w 4057"/>
                <a:gd name="T79" fmla="*/ 561 h 767"/>
                <a:gd name="T80" fmla="*/ 2069 w 4057"/>
                <a:gd name="T81" fmla="*/ 413 h 767"/>
                <a:gd name="T82" fmla="*/ 2037 w 4057"/>
                <a:gd name="T83" fmla="*/ 253 h 767"/>
                <a:gd name="T84" fmla="*/ 1925 w 4057"/>
                <a:gd name="T85" fmla="*/ 141 h 767"/>
                <a:gd name="T86" fmla="*/ 1765 w 4057"/>
                <a:gd name="T87" fmla="*/ 108 h 767"/>
                <a:gd name="T88" fmla="*/ 1618 w 4057"/>
                <a:gd name="T89" fmla="*/ 171 h 767"/>
                <a:gd name="T90" fmla="*/ 1530 w 4057"/>
                <a:gd name="T91" fmla="*/ 304 h 767"/>
                <a:gd name="T92" fmla="*/ 1530 w 4057"/>
                <a:gd name="T93" fmla="*/ 467 h 767"/>
                <a:gd name="T94" fmla="*/ 1618 w 4057"/>
                <a:gd name="T95" fmla="*/ 598 h 767"/>
                <a:gd name="T96" fmla="*/ 1765 w 4057"/>
                <a:gd name="T97" fmla="*/ 659 h 767"/>
                <a:gd name="T98" fmla="*/ 2214 w 4057"/>
                <a:gd name="T99" fmla="*/ 91 h 767"/>
                <a:gd name="T100" fmla="*/ 2736 w 4057"/>
                <a:gd name="T101" fmla="*/ 13 h 767"/>
                <a:gd name="T102" fmla="*/ 2739 w 4057"/>
                <a:gd name="T103" fmla="*/ 107 h 767"/>
                <a:gd name="T104" fmla="*/ 2520 w 4057"/>
                <a:gd name="T105" fmla="*/ 756 h 767"/>
                <a:gd name="T106" fmla="*/ 2885 w 4057"/>
                <a:gd name="T107" fmla="*/ 31 h 767"/>
                <a:gd name="T108" fmla="*/ 3343 w 4057"/>
                <a:gd name="T109" fmla="*/ 15 h 767"/>
                <a:gd name="T110" fmla="*/ 3340 w 4057"/>
                <a:gd name="T111" fmla="*/ 109 h 767"/>
                <a:gd name="T112" fmla="*/ 3298 w 4057"/>
                <a:gd name="T113" fmla="*/ 345 h 767"/>
                <a:gd name="T114" fmla="*/ 2994 w 4057"/>
                <a:gd name="T115" fmla="*/ 658 h 767"/>
                <a:gd name="T116" fmla="*/ 3350 w 4057"/>
                <a:gd name="T117" fmla="*/ 744 h 767"/>
                <a:gd name="T118" fmla="*/ 2888 w 4057"/>
                <a:gd name="T119" fmla="*/ 747 h 7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057" h="767">
                  <a:moveTo>
                    <a:pt x="3508" y="37"/>
                  </a:moveTo>
                  <a:lnTo>
                    <a:pt x="3508" y="31"/>
                  </a:lnTo>
                  <a:lnTo>
                    <a:pt x="3509" y="29"/>
                  </a:lnTo>
                  <a:lnTo>
                    <a:pt x="3509" y="27"/>
                  </a:lnTo>
                  <a:lnTo>
                    <a:pt x="3510" y="25"/>
                  </a:lnTo>
                  <a:lnTo>
                    <a:pt x="3512" y="22"/>
                  </a:lnTo>
                  <a:lnTo>
                    <a:pt x="3515" y="19"/>
                  </a:lnTo>
                  <a:lnTo>
                    <a:pt x="3518" y="15"/>
                  </a:lnTo>
                  <a:lnTo>
                    <a:pt x="3523" y="13"/>
                  </a:lnTo>
                  <a:lnTo>
                    <a:pt x="3525" y="12"/>
                  </a:lnTo>
                  <a:lnTo>
                    <a:pt x="3528" y="12"/>
                  </a:lnTo>
                  <a:lnTo>
                    <a:pt x="3533" y="11"/>
                  </a:lnTo>
                  <a:lnTo>
                    <a:pt x="3595" y="11"/>
                  </a:lnTo>
                  <a:lnTo>
                    <a:pt x="3600" y="12"/>
                  </a:lnTo>
                  <a:lnTo>
                    <a:pt x="3602" y="12"/>
                  </a:lnTo>
                  <a:lnTo>
                    <a:pt x="3605" y="13"/>
                  </a:lnTo>
                  <a:lnTo>
                    <a:pt x="3609" y="15"/>
                  </a:lnTo>
                  <a:lnTo>
                    <a:pt x="3611" y="17"/>
                  </a:lnTo>
                  <a:lnTo>
                    <a:pt x="3613" y="19"/>
                  </a:lnTo>
                  <a:lnTo>
                    <a:pt x="3616" y="22"/>
                  </a:lnTo>
                  <a:lnTo>
                    <a:pt x="3618" y="27"/>
                  </a:lnTo>
                  <a:lnTo>
                    <a:pt x="3619" y="29"/>
                  </a:lnTo>
                  <a:lnTo>
                    <a:pt x="3620" y="31"/>
                  </a:lnTo>
                  <a:lnTo>
                    <a:pt x="3620" y="37"/>
                  </a:lnTo>
                  <a:lnTo>
                    <a:pt x="3620" y="332"/>
                  </a:lnTo>
                  <a:lnTo>
                    <a:pt x="3920" y="22"/>
                  </a:lnTo>
                  <a:lnTo>
                    <a:pt x="3924" y="18"/>
                  </a:lnTo>
                  <a:lnTo>
                    <a:pt x="3929" y="14"/>
                  </a:lnTo>
                  <a:lnTo>
                    <a:pt x="3934" y="12"/>
                  </a:lnTo>
                  <a:lnTo>
                    <a:pt x="3937" y="11"/>
                  </a:lnTo>
                  <a:lnTo>
                    <a:pt x="3940" y="11"/>
                  </a:lnTo>
                  <a:lnTo>
                    <a:pt x="4020" y="11"/>
                  </a:lnTo>
                  <a:lnTo>
                    <a:pt x="4024" y="11"/>
                  </a:lnTo>
                  <a:lnTo>
                    <a:pt x="4027" y="12"/>
                  </a:lnTo>
                  <a:lnTo>
                    <a:pt x="4030" y="13"/>
                  </a:lnTo>
                  <a:lnTo>
                    <a:pt x="4033" y="15"/>
                  </a:lnTo>
                  <a:lnTo>
                    <a:pt x="4035" y="17"/>
                  </a:lnTo>
                  <a:lnTo>
                    <a:pt x="4037" y="19"/>
                  </a:lnTo>
                  <a:lnTo>
                    <a:pt x="4040" y="24"/>
                  </a:lnTo>
                  <a:lnTo>
                    <a:pt x="4042" y="30"/>
                  </a:lnTo>
                  <a:lnTo>
                    <a:pt x="4042" y="33"/>
                  </a:lnTo>
                  <a:lnTo>
                    <a:pt x="4042" y="37"/>
                  </a:lnTo>
                  <a:lnTo>
                    <a:pt x="4039" y="43"/>
                  </a:lnTo>
                  <a:lnTo>
                    <a:pt x="4038" y="46"/>
                  </a:lnTo>
                  <a:lnTo>
                    <a:pt x="4035" y="49"/>
                  </a:lnTo>
                  <a:lnTo>
                    <a:pt x="3728" y="363"/>
                  </a:lnTo>
                  <a:lnTo>
                    <a:pt x="4053" y="721"/>
                  </a:lnTo>
                  <a:lnTo>
                    <a:pt x="4055" y="724"/>
                  </a:lnTo>
                  <a:lnTo>
                    <a:pt x="4056" y="726"/>
                  </a:lnTo>
                  <a:lnTo>
                    <a:pt x="4057" y="731"/>
                  </a:lnTo>
                  <a:lnTo>
                    <a:pt x="4057" y="734"/>
                  </a:lnTo>
                  <a:lnTo>
                    <a:pt x="4057" y="737"/>
                  </a:lnTo>
                  <a:lnTo>
                    <a:pt x="4056" y="740"/>
                  </a:lnTo>
                  <a:lnTo>
                    <a:pt x="4055" y="743"/>
                  </a:lnTo>
                  <a:lnTo>
                    <a:pt x="4054" y="746"/>
                  </a:lnTo>
                  <a:lnTo>
                    <a:pt x="4052" y="748"/>
                  </a:lnTo>
                  <a:lnTo>
                    <a:pt x="4050" y="750"/>
                  </a:lnTo>
                  <a:lnTo>
                    <a:pt x="4048" y="752"/>
                  </a:lnTo>
                  <a:lnTo>
                    <a:pt x="4045" y="754"/>
                  </a:lnTo>
                  <a:lnTo>
                    <a:pt x="4042" y="755"/>
                  </a:lnTo>
                  <a:lnTo>
                    <a:pt x="4038" y="756"/>
                  </a:lnTo>
                  <a:lnTo>
                    <a:pt x="4034" y="756"/>
                  </a:lnTo>
                  <a:lnTo>
                    <a:pt x="3949" y="756"/>
                  </a:lnTo>
                  <a:lnTo>
                    <a:pt x="3945" y="756"/>
                  </a:lnTo>
                  <a:lnTo>
                    <a:pt x="3942" y="756"/>
                  </a:lnTo>
                  <a:lnTo>
                    <a:pt x="3936" y="754"/>
                  </a:lnTo>
                  <a:lnTo>
                    <a:pt x="3934" y="753"/>
                  </a:lnTo>
                  <a:lnTo>
                    <a:pt x="3932" y="752"/>
                  </a:lnTo>
                  <a:lnTo>
                    <a:pt x="3930" y="749"/>
                  </a:lnTo>
                  <a:lnTo>
                    <a:pt x="3620" y="400"/>
                  </a:lnTo>
                  <a:lnTo>
                    <a:pt x="3620" y="731"/>
                  </a:lnTo>
                  <a:lnTo>
                    <a:pt x="3620" y="736"/>
                  </a:lnTo>
                  <a:lnTo>
                    <a:pt x="3619" y="738"/>
                  </a:lnTo>
                  <a:lnTo>
                    <a:pt x="3618" y="741"/>
                  </a:lnTo>
                  <a:lnTo>
                    <a:pt x="3616" y="745"/>
                  </a:lnTo>
                  <a:lnTo>
                    <a:pt x="3614" y="747"/>
                  </a:lnTo>
                  <a:lnTo>
                    <a:pt x="3613" y="749"/>
                  </a:lnTo>
                  <a:lnTo>
                    <a:pt x="3609" y="752"/>
                  </a:lnTo>
                  <a:lnTo>
                    <a:pt x="3605" y="754"/>
                  </a:lnTo>
                  <a:lnTo>
                    <a:pt x="3602" y="755"/>
                  </a:lnTo>
                  <a:lnTo>
                    <a:pt x="3600" y="756"/>
                  </a:lnTo>
                  <a:lnTo>
                    <a:pt x="3595" y="756"/>
                  </a:lnTo>
                  <a:lnTo>
                    <a:pt x="3533" y="756"/>
                  </a:lnTo>
                  <a:lnTo>
                    <a:pt x="3528" y="756"/>
                  </a:lnTo>
                  <a:lnTo>
                    <a:pt x="3523" y="754"/>
                  </a:lnTo>
                  <a:lnTo>
                    <a:pt x="3518" y="752"/>
                  </a:lnTo>
                  <a:lnTo>
                    <a:pt x="3515" y="749"/>
                  </a:lnTo>
                  <a:lnTo>
                    <a:pt x="3512" y="745"/>
                  </a:lnTo>
                  <a:lnTo>
                    <a:pt x="3510" y="743"/>
                  </a:lnTo>
                  <a:lnTo>
                    <a:pt x="3509" y="741"/>
                  </a:lnTo>
                  <a:lnTo>
                    <a:pt x="3508" y="736"/>
                  </a:lnTo>
                  <a:lnTo>
                    <a:pt x="3508" y="731"/>
                  </a:lnTo>
                  <a:lnTo>
                    <a:pt x="3508" y="37"/>
                  </a:lnTo>
                  <a:close/>
                  <a:moveTo>
                    <a:pt x="2" y="729"/>
                  </a:moveTo>
                  <a:lnTo>
                    <a:pt x="329" y="12"/>
                  </a:lnTo>
                  <a:lnTo>
                    <a:pt x="330" y="10"/>
                  </a:lnTo>
                  <a:lnTo>
                    <a:pt x="332" y="8"/>
                  </a:lnTo>
                  <a:lnTo>
                    <a:pt x="335" y="6"/>
                  </a:lnTo>
                  <a:lnTo>
                    <a:pt x="337" y="4"/>
                  </a:lnTo>
                  <a:lnTo>
                    <a:pt x="340" y="2"/>
                  </a:lnTo>
                  <a:lnTo>
                    <a:pt x="342" y="1"/>
                  </a:lnTo>
                  <a:lnTo>
                    <a:pt x="345" y="1"/>
                  </a:lnTo>
                  <a:lnTo>
                    <a:pt x="347" y="0"/>
                  </a:lnTo>
                  <a:lnTo>
                    <a:pt x="358" y="0"/>
                  </a:lnTo>
                  <a:lnTo>
                    <a:pt x="360" y="1"/>
                  </a:lnTo>
                  <a:lnTo>
                    <a:pt x="362" y="1"/>
                  </a:lnTo>
                  <a:lnTo>
                    <a:pt x="365" y="2"/>
                  </a:lnTo>
                  <a:lnTo>
                    <a:pt x="367" y="4"/>
                  </a:lnTo>
                  <a:lnTo>
                    <a:pt x="370" y="6"/>
                  </a:lnTo>
                  <a:lnTo>
                    <a:pt x="372" y="8"/>
                  </a:lnTo>
                  <a:lnTo>
                    <a:pt x="376" y="12"/>
                  </a:lnTo>
                  <a:lnTo>
                    <a:pt x="701" y="729"/>
                  </a:lnTo>
                  <a:lnTo>
                    <a:pt x="703" y="734"/>
                  </a:lnTo>
                  <a:lnTo>
                    <a:pt x="703" y="739"/>
                  </a:lnTo>
                  <a:lnTo>
                    <a:pt x="702" y="744"/>
                  </a:lnTo>
                  <a:lnTo>
                    <a:pt x="702" y="746"/>
                  </a:lnTo>
                  <a:lnTo>
                    <a:pt x="700" y="748"/>
                  </a:lnTo>
                  <a:lnTo>
                    <a:pt x="699" y="750"/>
                  </a:lnTo>
                  <a:lnTo>
                    <a:pt x="697" y="751"/>
                  </a:lnTo>
                  <a:lnTo>
                    <a:pt x="693" y="754"/>
                  </a:lnTo>
                  <a:lnTo>
                    <a:pt x="689" y="756"/>
                  </a:lnTo>
                  <a:lnTo>
                    <a:pt x="686" y="756"/>
                  </a:lnTo>
                  <a:lnTo>
                    <a:pt x="683" y="757"/>
                  </a:lnTo>
                  <a:lnTo>
                    <a:pt x="616" y="757"/>
                  </a:lnTo>
                  <a:lnTo>
                    <a:pt x="611" y="756"/>
                  </a:lnTo>
                  <a:lnTo>
                    <a:pt x="607" y="755"/>
                  </a:lnTo>
                  <a:lnTo>
                    <a:pt x="606" y="755"/>
                  </a:lnTo>
                  <a:lnTo>
                    <a:pt x="604" y="754"/>
                  </a:lnTo>
                  <a:lnTo>
                    <a:pt x="601" y="752"/>
                  </a:lnTo>
                  <a:lnTo>
                    <a:pt x="598" y="750"/>
                  </a:lnTo>
                  <a:lnTo>
                    <a:pt x="595" y="747"/>
                  </a:lnTo>
                  <a:lnTo>
                    <a:pt x="593" y="744"/>
                  </a:lnTo>
                  <a:lnTo>
                    <a:pt x="592" y="741"/>
                  </a:lnTo>
                  <a:lnTo>
                    <a:pt x="526" y="595"/>
                  </a:lnTo>
                  <a:lnTo>
                    <a:pt x="177" y="595"/>
                  </a:lnTo>
                  <a:lnTo>
                    <a:pt x="144" y="668"/>
                  </a:lnTo>
                  <a:lnTo>
                    <a:pt x="112" y="741"/>
                  </a:lnTo>
                  <a:lnTo>
                    <a:pt x="109" y="746"/>
                  </a:lnTo>
                  <a:lnTo>
                    <a:pt x="103" y="751"/>
                  </a:lnTo>
                  <a:lnTo>
                    <a:pt x="100" y="753"/>
                  </a:lnTo>
                  <a:lnTo>
                    <a:pt x="96" y="755"/>
                  </a:lnTo>
                  <a:lnTo>
                    <a:pt x="92" y="756"/>
                  </a:lnTo>
                  <a:lnTo>
                    <a:pt x="88" y="757"/>
                  </a:lnTo>
                  <a:lnTo>
                    <a:pt x="21" y="757"/>
                  </a:lnTo>
                  <a:lnTo>
                    <a:pt x="15" y="756"/>
                  </a:lnTo>
                  <a:lnTo>
                    <a:pt x="10" y="754"/>
                  </a:lnTo>
                  <a:lnTo>
                    <a:pt x="6" y="751"/>
                  </a:lnTo>
                  <a:lnTo>
                    <a:pt x="4" y="750"/>
                  </a:lnTo>
                  <a:lnTo>
                    <a:pt x="3" y="748"/>
                  </a:lnTo>
                  <a:lnTo>
                    <a:pt x="1" y="744"/>
                  </a:lnTo>
                  <a:lnTo>
                    <a:pt x="1" y="741"/>
                  </a:lnTo>
                  <a:lnTo>
                    <a:pt x="0" y="739"/>
                  </a:lnTo>
                  <a:lnTo>
                    <a:pt x="0" y="737"/>
                  </a:lnTo>
                  <a:lnTo>
                    <a:pt x="1" y="734"/>
                  </a:lnTo>
                  <a:lnTo>
                    <a:pt x="1" y="731"/>
                  </a:lnTo>
                  <a:lnTo>
                    <a:pt x="2" y="729"/>
                  </a:lnTo>
                  <a:close/>
                  <a:moveTo>
                    <a:pt x="485" y="503"/>
                  </a:moveTo>
                  <a:lnTo>
                    <a:pt x="353" y="211"/>
                  </a:lnTo>
                  <a:lnTo>
                    <a:pt x="348" y="211"/>
                  </a:lnTo>
                  <a:lnTo>
                    <a:pt x="218" y="503"/>
                  </a:lnTo>
                  <a:lnTo>
                    <a:pt x="485" y="503"/>
                  </a:lnTo>
                  <a:close/>
                  <a:moveTo>
                    <a:pt x="814" y="31"/>
                  </a:moveTo>
                  <a:lnTo>
                    <a:pt x="815" y="27"/>
                  </a:lnTo>
                  <a:lnTo>
                    <a:pt x="816" y="24"/>
                  </a:lnTo>
                  <a:lnTo>
                    <a:pt x="818" y="20"/>
                  </a:lnTo>
                  <a:lnTo>
                    <a:pt x="820" y="17"/>
                  </a:lnTo>
                  <a:lnTo>
                    <a:pt x="823" y="15"/>
                  </a:lnTo>
                  <a:lnTo>
                    <a:pt x="827" y="13"/>
                  </a:lnTo>
                  <a:lnTo>
                    <a:pt x="830" y="11"/>
                  </a:lnTo>
                  <a:lnTo>
                    <a:pt x="835" y="11"/>
                  </a:lnTo>
                  <a:lnTo>
                    <a:pt x="1077" y="11"/>
                  </a:lnTo>
                  <a:lnTo>
                    <a:pt x="1089" y="11"/>
                  </a:lnTo>
                  <a:lnTo>
                    <a:pt x="1101" y="12"/>
                  </a:lnTo>
                  <a:lnTo>
                    <a:pt x="1113" y="14"/>
                  </a:lnTo>
                  <a:lnTo>
                    <a:pt x="1125" y="16"/>
                  </a:lnTo>
                  <a:lnTo>
                    <a:pt x="1136" y="19"/>
                  </a:lnTo>
                  <a:lnTo>
                    <a:pt x="1148" y="22"/>
                  </a:lnTo>
                  <a:lnTo>
                    <a:pt x="1159" y="25"/>
                  </a:lnTo>
                  <a:lnTo>
                    <a:pt x="1170" y="30"/>
                  </a:lnTo>
                  <a:lnTo>
                    <a:pt x="1180" y="34"/>
                  </a:lnTo>
                  <a:lnTo>
                    <a:pt x="1190" y="40"/>
                  </a:lnTo>
                  <a:lnTo>
                    <a:pt x="1200" y="45"/>
                  </a:lnTo>
                  <a:lnTo>
                    <a:pt x="1210" y="51"/>
                  </a:lnTo>
                  <a:lnTo>
                    <a:pt x="1219" y="58"/>
                  </a:lnTo>
                  <a:lnTo>
                    <a:pt x="1228" y="65"/>
                  </a:lnTo>
                  <a:lnTo>
                    <a:pt x="1237" y="72"/>
                  </a:lnTo>
                  <a:lnTo>
                    <a:pt x="1245" y="80"/>
                  </a:lnTo>
                  <a:lnTo>
                    <a:pt x="1253" y="88"/>
                  </a:lnTo>
                  <a:lnTo>
                    <a:pt x="1261" y="97"/>
                  </a:lnTo>
                  <a:lnTo>
                    <a:pt x="1268" y="106"/>
                  </a:lnTo>
                  <a:lnTo>
                    <a:pt x="1275" y="115"/>
                  </a:lnTo>
                  <a:lnTo>
                    <a:pt x="1281" y="125"/>
                  </a:lnTo>
                  <a:lnTo>
                    <a:pt x="1286" y="135"/>
                  </a:lnTo>
                  <a:lnTo>
                    <a:pt x="1292" y="145"/>
                  </a:lnTo>
                  <a:lnTo>
                    <a:pt x="1297" y="155"/>
                  </a:lnTo>
                  <a:lnTo>
                    <a:pt x="1301" y="166"/>
                  </a:lnTo>
                  <a:lnTo>
                    <a:pt x="1305" y="177"/>
                  </a:lnTo>
                  <a:lnTo>
                    <a:pt x="1308" y="188"/>
                  </a:lnTo>
                  <a:lnTo>
                    <a:pt x="1311" y="199"/>
                  </a:lnTo>
                  <a:lnTo>
                    <a:pt x="1313" y="211"/>
                  </a:lnTo>
                  <a:lnTo>
                    <a:pt x="1314" y="222"/>
                  </a:lnTo>
                  <a:lnTo>
                    <a:pt x="1315" y="234"/>
                  </a:lnTo>
                  <a:lnTo>
                    <a:pt x="1315" y="246"/>
                  </a:lnTo>
                  <a:lnTo>
                    <a:pt x="1315" y="258"/>
                  </a:lnTo>
                  <a:lnTo>
                    <a:pt x="1314" y="270"/>
                  </a:lnTo>
                  <a:lnTo>
                    <a:pt x="1313" y="282"/>
                  </a:lnTo>
                  <a:lnTo>
                    <a:pt x="1311" y="294"/>
                  </a:lnTo>
                  <a:lnTo>
                    <a:pt x="1308" y="307"/>
                  </a:lnTo>
                  <a:lnTo>
                    <a:pt x="1305" y="318"/>
                  </a:lnTo>
                  <a:lnTo>
                    <a:pt x="1301" y="329"/>
                  </a:lnTo>
                  <a:lnTo>
                    <a:pt x="1297" y="340"/>
                  </a:lnTo>
                  <a:lnTo>
                    <a:pt x="1292" y="351"/>
                  </a:lnTo>
                  <a:lnTo>
                    <a:pt x="1287" y="361"/>
                  </a:lnTo>
                  <a:lnTo>
                    <a:pt x="1281" y="371"/>
                  </a:lnTo>
                  <a:lnTo>
                    <a:pt x="1275" y="381"/>
                  </a:lnTo>
                  <a:lnTo>
                    <a:pt x="1268" y="390"/>
                  </a:lnTo>
                  <a:lnTo>
                    <a:pt x="1261" y="399"/>
                  </a:lnTo>
                  <a:lnTo>
                    <a:pt x="1253" y="408"/>
                  </a:lnTo>
                  <a:lnTo>
                    <a:pt x="1245" y="416"/>
                  </a:lnTo>
                  <a:lnTo>
                    <a:pt x="1237" y="424"/>
                  </a:lnTo>
                  <a:lnTo>
                    <a:pt x="1229" y="432"/>
                  </a:lnTo>
                  <a:lnTo>
                    <a:pt x="1220" y="439"/>
                  </a:lnTo>
                  <a:lnTo>
                    <a:pt x="1210" y="445"/>
                  </a:lnTo>
                  <a:lnTo>
                    <a:pt x="1201" y="452"/>
                  </a:lnTo>
                  <a:lnTo>
                    <a:pt x="1191" y="457"/>
                  </a:lnTo>
                  <a:lnTo>
                    <a:pt x="1180" y="463"/>
                  </a:lnTo>
                  <a:lnTo>
                    <a:pt x="1170" y="468"/>
                  </a:lnTo>
                  <a:lnTo>
                    <a:pt x="1159" y="472"/>
                  </a:lnTo>
                  <a:lnTo>
                    <a:pt x="1148" y="476"/>
                  </a:lnTo>
                  <a:lnTo>
                    <a:pt x="1137" y="479"/>
                  </a:lnTo>
                  <a:lnTo>
                    <a:pt x="1126" y="481"/>
                  </a:lnTo>
                  <a:lnTo>
                    <a:pt x="1114" y="484"/>
                  </a:lnTo>
                  <a:lnTo>
                    <a:pt x="1102" y="485"/>
                  </a:lnTo>
                  <a:lnTo>
                    <a:pt x="1090" y="486"/>
                  </a:lnTo>
                  <a:lnTo>
                    <a:pt x="1078" y="486"/>
                  </a:lnTo>
                  <a:lnTo>
                    <a:pt x="924" y="486"/>
                  </a:lnTo>
                  <a:lnTo>
                    <a:pt x="924" y="736"/>
                  </a:lnTo>
                  <a:lnTo>
                    <a:pt x="924" y="740"/>
                  </a:lnTo>
                  <a:lnTo>
                    <a:pt x="922" y="744"/>
                  </a:lnTo>
                  <a:lnTo>
                    <a:pt x="920" y="747"/>
                  </a:lnTo>
                  <a:lnTo>
                    <a:pt x="918" y="750"/>
                  </a:lnTo>
                  <a:lnTo>
                    <a:pt x="915" y="753"/>
                  </a:lnTo>
                  <a:lnTo>
                    <a:pt x="911" y="755"/>
                  </a:lnTo>
                  <a:lnTo>
                    <a:pt x="908" y="756"/>
                  </a:lnTo>
                  <a:lnTo>
                    <a:pt x="904" y="756"/>
                  </a:lnTo>
                  <a:lnTo>
                    <a:pt x="835" y="756"/>
                  </a:lnTo>
                  <a:lnTo>
                    <a:pt x="830" y="756"/>
                  </a:lnTo>
                  <a:lnTo>
                    <a:pt x="827" y="755"/>
                  </a:lnTo>
                  <a:lnTo>
                    <a:pt x="823" y="753"/>
                  </a:lnTo>
                  <a:lnTo>
                    <a:pt x="820" y="750"/>
                  </a:lnTo>
                  <a:lnTo>
                    <a:pt x="818" y="747"/>
                  </a:lnTo>
                  <a:lnTo>
                    <a:pt x="816" y="744"/>
                  </a:lnTo>
                  <a:lnTo>
                    <a:pt x="815" y="740"/>
                  </a:lnTo>
                  <a:lnTo>
                    <a:pt x="814" y="736"/>
                  </a:lnTo>
                  <a:lnTo>
                    <a:pt x="814" y="31"/>
                  </a:lnTo>
                  <a:close/>
                  <a:moveTo>
                    <a:pt x="1071" y="382"/>
                  </a:moveTo>
                  <a:lnTo>
                    <a:pt x="1078" y="382"/>
                  </a:lnTo>
                  <a:lnTo>
                    <a:pt x="1084" y="381"/>
                  </a:lnTo>
                  <a:lnTo>
                    <a:pt x="1098" y="379"/>
                  </a:lnTo>
                  <a:lnTo>
                    <a:pt x="1110" y="376"/>
                  </a:lnTo>
                  <a:lnTo>
                    <a:pt x="1117" y="374"/>
                  </a:lnTo>
                  <a:lnTo>
                    <a:pt x="1123" y="372"/>
                  </a:lnTo>
                  <a:lnTo>
                    <a:pt x="1129" y="369"/>
                  </a:lnTo>
                  <a:lnTo>
                    <a:pt x="1135" y="366"/>
                  </a:lnTo>
                  <a:lnTo>
                    <a:pt x="1146" y="359"/>
                  </a:lnTo>
                  <a:lnTo>
                    <a:pt x="1156" y="351"/>
                  </a:lnTo>
                  <a:lnTo>
                    <a:pt x="1166" y="343"/>
                  </a:lnTo>
                  <a:lnTo>
                    <a:pt x="1175" y="333"/>
                  </a:lnTo>
                  <a:lnTo>
                    <a:pt x="1179" y="328"/>
                  </a:lnTo>
                  <a:lnTo>
                    <a:pt x="1182" y="323"/>
                  </a:lnTo>
                  <a:lnTo>
                    <a:pt x="1186" y="317"/>
                  </a:lnTo>
                  <a:lnTo>
                    <a:pt x="1189" y="312"/>
                  </a:lnTo>
                  <a:lnTo>
                    <a:pt x="1195" y="299"/>
                  </a:lnTo>
                  <a:lnTo>
                    <a:pt x="1198" y="292"/>
                  </a:lnTo>
                  <a:lnTo>
                    <a:pt x="1200" y="286"/>
                  </a:lnTo>
                  <a:lnTo>
                    <a:pt x="1203" y="273"/>
                  </a:lnTo>
                  <a:lnTo>
                    <a:pt x="1204" y="266"/>
                  </a:lnTo>
                  <a:lnTo>
                    <a:pt x="1205" y="263"/>
                  </a:lnTo>
                  <a:lnTo>
                    <a:pt x="1205" y="259"/>
                  </a:lnTo>
                  <a:lnTo>
                    <a:pt x="1206" y="252"/>
                  </a:lnTo>
                  <a:lnTo>
                    <a:pt x="1206" y="245"/>
                  </a:lnTo>
                  <a:lnTo>
                    <a:pt x="1206" y="238"/>
                  </a:lnTo>
                  <a:lnTo>
                    <a:pt x="1205" y="232"/>
                  </a:lnTo>
                  <a:lnTo>
                    <a:pt x="1203" y="219"/>
                  </a:lnTo>
                  <a:lnTo>
                    <a:pt x="1202" y="213"/>
                  </a:lnTo>
                  <a:lnTo>
                    <a:pt x="1200" y="206"/>
                  </a:lnTo>
                  <a:lnTo>
                    <a:pt x="1195" y="195"/>
                  </a:lnTo>
                  <a:lnTo>
                    <a:pt x="1189" y="183"/>
                  </a:lnTo>
                  <a:lnTo>
                    <a:pt x="1182" y="173"/>
                  </a:lnTo>
                  <a:lnTo>
                    <a:pt x="1179" y="168"/>
                  </a:lnTo>
                  <a:lnTo>
                    <a:pt x="1175" y="163"/>
                  </a:lnTo>
                  <a:lnTo>
                    <a:pt x="1170" y="158"/>
                  </a:lnTo>
                  <a:lnTo>
                    <a:pt x="1166" y="154"/>
                  </a:lnTo>
                  <a:lnTo>
                    <a:pt x="1156" y="146"/>
                  </a:lnTo>
                  <a:lnTo>
                    <a:pt x="1146" y="139"/>
                  </a:lnTo>
                  <a:lnTo>
                    <a:pt x="1135" y="132"/>
                  </a:lnTo>
                  <a:lnTo>
                    <a:pt x="1129" y="130"/>
                  </a:lnTo>
                  <a:lnTo>
                    <a:pt x="1123" y="127"/>
                  </a:lnTo>
                  <a:lnTo>
                    <a:pt x="1110" y="123"/>
                  </a:lnTo>
                  <a:lnTo>
                    <a:pt x="1098" y="120"/>
                  </a:lnTo>
                  <a:lnTo>
                    <a:pt x="1084" y="118"/>
                  </a:lnTo>
                  <a:lnTo>
                    <a:pt x="1071" y="117"/>
                  </a:lnTo>
                  <a:lnTo>
                    <a:pt x="924" y="117"/>
                  </a:lnTo>
                  <a:lnTo>
                    <a:pt x="924" y="382"/>
                  </a:lnTo>
                  <a:lnTo>
                    <a:pt x="1071" y="382"/>
                  </a:lnTo>
                  <a:close/>
                  <a:moveTo>
                    <a:pt x="1793" y="0"/>
                  </a:moveTo>
                  <a:lnTo>
                    <a:pt x="1812" y="1"/>
                  </a:lnTo>
                  <a:lnTo>
                    <a:pt x="1832" y="2"/>
                  </a:lnTo>
                  <a:lnTo>
                    <a:pt x="1851" y="5"/>
                  </a:lnTo>
                  <a:lnTo>
                    <a:pt x="1871" y="8"/>
                  </a:lnTo>
                  <a:lnTo>
                    <a:pt x="1890" y="12"/>
                  </a:lnTo>
                  <a:lnTo>
                    <a:pt x="1899" y="15"/>
                  </a:lnTo>
                  <a:lnTo>
                    <a:pt x="1908" y="18"/>
                  </a:lnTo>
                  <a:lnTo>
                    <a:pt x="1917" y="20"/>
                  </a:lnTo>
                  <a:lnTo>
                    <a:pt x="1926" y="24"/>
                  </a:lnTo>
                  <a:lnTo>
                    <a:pt x="1943" y="30"/>
                  </a:lnTo>
                  <a:lnTo>
                    <a:pt x="1960" y="38"/>
                  </a:lnTo>
                  <a:lnTo>
                    <a:pt x="1977" y="47"/>
                  </a:lnTo>
                  <a:lnTo>
                    <a:pt x="1993" y="56"/>
                  </a:lnTo>
                  <a:lnTo>
                    <a:pt x="2008" y="66"/>
                  </a:lnTo>
                  <a:lnTo>
                    <a:pt x="2023" y="76"/>
                  </a:lnTo>
                  <a:lnTo>
                    <a:pt x="2038" y="88"/>
                  </a:lnTo>
                  <a:lnTo>
                    <a:pt x="2052" y="100"/>
                  </a:lnTo>
                  <a:lnTo>
                    <a:pt x="2058" y="106"/>
                  </a:lnTo>
                  <a:lnTo>
                    <a:pt x="2065" y="113"/>
                  </a:lnTo>
                  <a:lnTo>
                    <a:pt x="2077" y="126"/>
                  </a:lnTo>
                  <a:lnTo>
                    <a:pt x="2089" y="140"/>
                  </a:lnTo>
                  <a:lnTo>
                    <a:pt x="2095" y="147"/>
                  </a:lnTo>
                  <a:lnTo>
                    <a:pt x="2101" y="154"/>
                  </a:lnTo>
                  <a:lnTo>
                    <a:pt x="2111" y="169"/>
                  </a:lnTo>
                  <a:lnTo>
                    <a:pt x="2121" y="185"/>
                  </a:lnTo>
                  <a:lnTo>
                    <a:pt x="2131" y="201"/>
                  </a:lnTo>
                  <a:lnTo>
                    <a:pt x="2139" y="218"/>
                  </a:lnTo>
                  <a:lnTo>
                    <a:pt x="2147" y="235"/>
                  </a:lnTo>
                  <a:lnTo>
                    <a:pt x="2150" y="243"/>
                  </a:lnTo>
                  <a:lnTo>
                    <a:pt x="2153" y="252"/>
                  </a:lnTo>
                  <a:lnTo>
                    <a:pt x="2159" y="270"/>
                  </a:lnTo>
                  <a:lnTo>
                    <a:pt x="2165" y="288"/>
                  </a:lnTo>
                  <a:lnTo>
                    <a:pt x="2169" y="308"/>
                  </a:lnTo>
                  <a:lnTo>
                    <a:pt x="2171" y="317"/>
                  </a:lnTo>
                  <a:lnTo>
                    <a:pt x="2172" y="327"/>
                  </a:lnTo>
                  <a:lnTo>
                    <a:pt x="2175" y="346"/>
                  </a:lnTo>
                  <a:lnTo>
                    <a:pt x="2176" y="366"/>
                  </a:lnTo>
                  <a:lnTo>
                    <a:pt x="2177" y="385"/>
                  </a:lnTo>
                  <a:lnTo>
                    <a:pt x="2176" y="405"/>
                  </a:lnTo>
                  <a:lnTo>
                    <a:pt x="2175" y="425"/>
                  </a:lnTo>
                  <a:lnTo>
                    <a:pt x="2172" y="444"/>
                  </a:lnTo>
                  <a:lnTo>
                    <a:pt x="2169" y="463"/>
                  </a:lnTo>
                  <a:lnTo>
                    <a:pt x="2165" y="481"/>
                  </a:lnTo>
                  <a:lnTo>
                    <a:pt x="2162" y="491"/>
                  </a:lnTo>
                  <a:lnTo>
                    <a:pt x="2159" y="500"/>
                  </a:lnTo>
                  <a:lnTo>
                    <a:pt x="2157" y="509"/>
                  </a:lnTo>
                  <a:lnTo>
                    <a:pt x="2153" y="517"/>
                  </a:lnTo>
                  <a:lnTo>
                    <a:pt x="2147" y="535"/>
                  </a:lnTo>
                  <a:lnTo>
                    <a:pt x="2139" y="552"/>
                  </a:lnTo>
                  <a:lnTo>
                    <a:pt x="2131" y="568"/>
                  </a:lnTo>
                  <a:lnTo>
                    <a:pt x="2121" y="584"/>
                  </a:lnTo>
                  <a:lnTo>
                    <a:pt x="2111" y="600"/>
                  </a:lnTo>
                  <a:lnTo>
                    <a:pt x="2101" y="615"/>
                  </a:lnTo>
                  <a:lnTo>
                    <a:pt x="2089" y="629"/>
                  </a:lnTo>
                  <a:lnTo>
                    <a:pt x="2077" y="643"/>
                  </a:lnTo>
                  <a:lnTo>
                    <a:pt x="2071" y="649"/>
                  </a:lnTo>
                  <a:lnTo>
                    <a:pt x="2065" y="656"/>
                  </a:lnTo>
                  <a:lnTo>
                    <a:pt x="2052" y="669"/>
                  </a:lnTo>
                  <a:lnTo>
                    <a:pt x="2038" y="681"/>
                  </a:lnTo>
                  <a:lnTo>
                    <a:pt x="2031" y="686"/>
                  </a:lnTo>
                  <a:lnTo>
                    <a:pt x="2023" y="692"/>
                  </a:lnTo>
                  <a:lnTo>
                    <a:pt x="2008" y="702"/>
                  </a:lnTo>
                  <a:lnTo>
                    <a:pt x="2001" y="707"/>
                  </a:lnTo>
                  <a:lnTo>
                    <a:pt x="1993" y="712"/>
                  </a:lnTo>
                  <a:lnTo>
                    <a:pt x="1977" y="721"/>
                  </a:lnTo>
                  <a:lnTo>
                    <a:pt x="1960" y="730"/>
                  </a:lnTo>
                  <a:lnTo>
                    <a:pt x="1952" y="734"/>
                  </a:lnTo>
                  <a:lnTo>
                    <a:pt x="1943" y="737"/>
                  </a:lnTo>
                  <a:lnTo>
                    <a:pt x="1935" y="741"/>
                  </a:lnTo>
                  <a:lnTo>
                    <a:pt x="1926" y="744"/>
                  </a:lnTo>
                  <a:lnTo>
                    <a:pt x="1908" y="750"/>
                  </a:lnTo>
                  <a:lnTo>
                    <a:pt x="1890" y="755"/>
                  </a:lnTo>
                  <a:lnTo>
                    <a:pt x="1871" y="759"/>
                  </a:lnTo>
                  <a:lnTo>
                    <a:pt x="1851" y="763"/>
                  </a:lnTo>
                  <a:lnTo>
                    <a:pt x="1832" y="765"/>
                  </a:lnTo>
                  <a:lnTo>
                    <a:pt x="1812" y="767"/>
                  </a:lnTo>
                  <a:lnTo>
                    <a:pt x="1793" y="767"/>
                  </a:lnTo>
                  <a:lnTo>
                    <a:pt x="1773" y="767"/>
                  </a:lnTo>
                  <a:lnTo>
                    <a:pt x="1753" y="765"/>
                  </a:lnTo>
                  <a:lnTo>
                    <a:pt x="1734" y="763"/>
                  </a:lnTo>
                  <a:lnTo>
                    <a:pt x="1715" y="759"/>
                  </a:lnTo>
                  <a:lnTo>
                    <a:pt x="1697" y="755"/>
                  </a:lnTo>
                  <a:lnTo>
                    <a:pt x="1678" y="750"/>
                  </a:lnTo>
                  <a:lnTo>
                    <a:pt x="1669" y="747"/>
                  </a:lnTo>
                  <a:lnTo>
                    <a:pt x="1661" y="744"/>
                  </a:lnTo>
                  <a:lnTo>
                    <a:pt x="1643" y="737"/>
                  </a:lnTo>
                  <a:lnTo>
                    <a:pt x="1626" y="730"/>
                  </a:lnTo>
                  <a:lnTo>
                    <a:pt x="1610" y="721"/>
                  </a:lnTo>
                  <a:lnTo>
                    <a:pt x="1594" y="712"/>
                  </a:lnTo>
                  <a:lnTo>
                    <a:pt x="1578" y="702"/>
                  </a:lnTo>
                  <a:lnTo>
                    <a:pt x="1563" y="692"/>
                  </a:lnTo>
                  <a:lnTo>
                    <a:pt x="1549" y="681"/>
                  </a:lnTo>
                  <a:lnTo>
                    <a:pt x="1542" y="675"/>
                  </a:lnTo>
                  <a:lnTo>
                    <a:pt x="1535" y="669"/>
                  </a:lnTo>
                  <a:lnTo>
                    <a:pt x="1522" y="656"/>
                  </a:lnTo>
                  <a:lnTo>
                    <a:pt x="1509" y="643"/>
                  </a:lnTo>
                  <a:lnTo>
                    <a:pt x="1497" y="629"/>
                  </a:lnTo>
                  <a:lnTo>
                    <a:pt x="1492" y="622"/>
                  </a:lnTo>
                  <a:lnTo>
                    <a:pt x="1486" y="615"/>
                  </a:lnTo>
                  <a:lnTo>
                    <a:pt x="1476" y="600"/>
                  </a:lnTo>
                  <a:lnTo>
                    <a:pt x="1471" y="592"/>
                  </a:lnTo>
                  <a:lnTo>
                    <a:pt x="1466" y="584"/>
                  </a:lnTo>
                  <a:lnTo>
                    <a:pt x="1457" y="568"/>
                  </a:lnTo>
                  <a:lnTo>
                    <a:pt x="1448" y="552"/>
                  </a:lnTo>
                  <a:lnTo>
                    <a:pt x="1444" y="543"/>
                  </a:lnTo>
                  <a:lnTo>
                    <a:pt x="1441" y="535"/>
                  </a:lnTo>
                  <a:lnTo>
                    <a:pt x="1437" y="526"/>
                  </a:lnTo>
                  <a:lnTo>
                    <a:pt x="1434" y="517"/>
                  </a:lnTo>
                  <a:lnTo>
                    <a:pt x="1428" y="500"/>
                  </a:lnTo>
                  <a:lnTo>
                    <a:pt x="1423" y="481"/>
                  </a:lnTo>
                  <a:lnTo>
                    <a:pt x="1419" y="463"/>
                  </a:lnTo>
                  <a:lnTo>
                    <a:pt x="1415" y="444"/>
                  </a:lnTo>
                  <a:lnTo>
                    <a:pt x="1413" y="425"/>
                  </a:lnTo>
                  <a:lnTo>
                    <a:pt x="1411" y="405"/>
                  </a:lnTo>
                  <a:lnTo>
                    <a:pt x="1411" y="385"/>
                  </a:lnTo>
                  <a:lnTo>
                    <a:pt x="1411" y="366"/>
                  </a:lnTo>
                  <a:lnTo>
                    <a:pt x="1413" y="346"/>
                  </a:lnTo>
                  <a:lnTo>
                    <a:pt x="1415" y="327"/>
                  </a:lnTo>
                  <a:lnTo>
                    <a:pt x="1419" y="308"/>
                  </a:lnTo>
                  <a:lnTo>
                    <a:pt x="1423" y="288"/>
                  </a:lnTo>
                  <a:lnTo>
                    <a:pt x="1428" y="270"/>
                  </a:lnTo>
                  <a:lnTo>
                    <a:pt x="1431" y="261"/>
                  </a:lnTo>
                  <a:lnTo>
                    <a:pt x="1434" y="252"/>
                  </a:lnTo>
                  <a:lnTo>
                    <a:pt x="1437" y="243"/>
                  </a:lnTo>
                  <a:lnTo>
                    <a:pt x="1441" y="235"/>
                  </a:lnTo>
                  <a:lnTo>
                    <a:pt x="1448" y="218"/>
                  </a:lnTo>
                  <a:lnTo>
                    <a:pt x="1457" y="201"/>
                  </a:lnTo>
                  <a:lnTo>
                    <a:pt x="1466" y="185"/>
                  </a:lnTo>
                  <a:lnTo>
                    <a:pt x="1476" y="169"/>
                  </a:lnTo>
                  <a:lnTo>
                    <a:pt x="1486" y="154"/>
                  </a:lnTo>
                  <a:lnTo>
                    <a:pt x="1497" y="140"/>
                  </a:lnTo>
                  <a:lnTo>
                    <a:pt x="1503" y="133"/>
                  </a:lnTo>
                  <a:lnTo>
                    <a:pt x="1509" y="126"/>
                  </a:lnTo>
                  <a:lnTo>
                    <a:pt x="1522" y="113"/>
                  </a:lnTo>
                  <a:lnTo>
                    <a:pt x="1535" y="100"/>
                  </a:lnTo>
                  <a:lnTo>
                    <a:pt x="1542" y="94"/>
                  </a:lnTo>
                  <a:lnTo>
                    <a:pt x="1549" y="88"/>
                  </a:lnTo>
                  <a:lnTo>
                    <a:pt x="1563" y="76"/>
                  </a:lnTo>
                  <a:lnTo>
                    <a:pt x="1578" y="66"/>
                  </a:lnTo>
                  <a:lnTo>
                    <a:pt x="1594" y="56"/>
                  </a:lnTo>
                  <a:lnTo>
                    <a:pt x="1610" y="47"/>
                  </a:lnTo>
                  <a:lnTo>
                    <a:pt x="1626" y="38"/>
                  </a:lnTo>
                  <a:lnTo>
                    <a:pt x="1643" y="30"/>
                  </a:lnTo>
                  <a:lnTo>
                    <a:pt x="1652" y="27"/>
                  </a:lnTo>
                  <a:lnTo>
                    <a:pt x="1661" y="24"/>
                  </a:lnTo>
                  <a:lnTo>
                    <a:pt x="1669" y="20"/>
                  </a:lnTo>
                  <a:lnTo>
                    <a:pt x="1678" y="18"/>
                  </a:lnTo>
                  <a:lnTo>
                    <a:pt x="1697" y="12"/>
                  </a:lnTo>
                  <a:lnTo>
                    <a:pt x="1715" y="8"/>
                  </a:lnTo>
                  <a:lnTo>
                    <a:pt x="1725" y="6"/>
                  </a:lnTo>
                  <a:lnTo>
                    <a:pt x="1734" y="5"/>
                  </a:lnTo>
                  <a:lnTo>
                    <a:pt x="1753" y="2"/>
                  </a:lnTo>
                  <a:lnTo>
                    <a:pt x="1773" y="1"/>
                  </a:lnTo>
                  <a:lnTo>
                    <a:pt x="1793" y="0"/>
                  </a:lnTo>
                  <a:close/>
                  <a:moveTo>
                    <a:pt x="1793" y="661"/>
                  </a:moveTo>
                  <a:lnTo>
                    <a:pt x="1807" y="660"/>
                  </a:lnTo>
                  <a:lnTo>
                    <a:pt x="1821" y="659"/>
                  </a:lnTo>
                  <a:lnTo>
                    <a:pt x="1835" y="658"/>
                  </a:lnTo>
                  <a:lnTo>
                    <a:pt x="1848" y="655"/>
                  </a:lnTo>
                  <a:lnTo>
                    <a:pt x="1862" y="652"/>
                  </a:lnTo>
                  <a:lnTo>
                    <a:pt x="1876" y="648"/>
                  </a:lnTo>
                  <a:lnTo>
                    <a:pt x="1888" y="644"/>
                  </a:lnTo>
                  <a:lnTo>
                    <a:pt x="1901" y="639"/>
                  </a:lnTo>
                  <a:lnTo>
                    <a:pt x="1913" y="634"/>
                  </a:lnTo>
                  <a:lnTo>
                    <a:pt x="1925" y="628"/>
                  </a:lnTo>
                  <a:lnTo>
                    <a:pt x="1931" y="624"/>
                  </a:lnTo>
                  <a:lnTo>
                    <a:pt x="1937" y="621"/>
                  </a:lnTo>
                  <a:lnTo>
                    <a:pt x="1948" y="614"/>
                  </a:lnTo>
                  <a:lnTo>
                    <a:pt x="1959" y="606"/>
                  </a:lnTo>
                  <a:lnTo>
                    <a:pt x="1969" y="598"/>
                  </a:lnTo>
                  <a:lnTo>
                    <a:pt x="1979" y="589"/>
                  </a:lnTo>
                  <a:lnTo>
                    <a:pt x="1989" y="580"/>
                  </a:lnTo>
                  <a:lnTo>
                    <a:pt x="1998" y="571"/>
                  </a:lnTo>
                  <a:lnTo>
                    <a:pt x="2007" y="561"/>
                  </a:lnTo>
                  <a:lnTo>
                    <a:pt x="2015" y="550"/>
                  </a:lnTo>
                  <a:lnTo>
                    <a:pt x="2023" y="539"/>
                  </a:lnTo>
                  <a:lnTo>
                    <a:pt x="2030" y="528"/>
                  </a:lnTo>
                  <a:lnTo>
                    <a:pt x="2037" y="517"/>
                  </a:lnTo>
                  <a:lnTo>
                    <a:pt x="2043" y="505"/>
                  </a:lnTo>
                  <a:lnTo>
                    <a:pt x="2048" y="493"/>
                  </a:lnTo>
                  <a:lnTo>
                    <a:pt x="2053" y="480"/>
                  </a:lnTo>
                  <a:lnTo>
                    <a:pt x="2058" y="467"/>
                  </a:lnTo>
                  <a:lnTo>
                    <a:pt x="2061" y="454"/>
                  </a:lnTo>
                  <a:lnTo>
                    <a:pt x="2065" y="441"/>
                  </a:lnTo>
                  <a:lnTo>
                    <a:pt x="2067" y="427"/>
                  </a:lnTo>
                  <a:lnTo>
                    <a:pt x="2069" y="413"/>
                  </a:lnTo>
                  <a:lnTo>
                    <a:pt x="2070" y="399"/>
                  </a:lnTo>
                  <a:lnTo>
                    <a:pt x="2070" y="385"/>
                  </a:lnTo>
                  <a:lnTo>
                    <a:pt x="2070" y="371"/>
                  </a:lnTo>
                  <a:lnTo>
                    <a:pt x="2069" y="357"/>
                  </a:lnTo>
                  <a:lnTo>
                    <a:pt x="2067" y="344"/>
                  </a:lnTo>
                  <a:lnTo>
                    <a:pt x="2065" y="330"/>
                  </a:lnTo>
                  <a:lnTo>
                    <a:pt x="2061" y="317"/>
                  </a:lnTo>
                  <a:lnTo>
                    <a:pt x="2058" y="304"/>
                  </a:lnTo>
                  <a:lnTo>
                    <a:pt x="2053" y="290"/>
                  </a:lnTo>
                  <a:lnTo>
                    <a:pt x="2048" y="277"/>
                  </a:lnTo>
                  <a:lnTo>
                    <a:pt x="2043" y="265"/>
                  </a:lnTo>
                  <a:lnTo>
                    <a:pt x="2037" y="253"/>
                  </a:lnTo>
                  <a:lnTo>
                    <a:pt x="2030" y="241"/>
                  </a:lnTo>
                  <a:lnTo>
                    <a:pt x="2023" y="230"/>
                  </a:lnTo>
                  <a:lnTo>
                    <a:pt x="2015" y="219"/>
                  </a:lnTo>
                  <a:lnTo>
                    <a:pt x="2007" y="209"/>
                  </a:lnTo>
                  <a:lnTo>
                    <a:pt x="1998" y="199"/>
                  </a:lnTo>
                  <a:lnTo>
                    <a:pt x="1989" y="189"/>
                  </a:lnTo>
                  <a:lnTo>
                    <a:pt x="1979" y="180"/>
                  </a:lnTo>
                  <a:lnTo>
                    <a:pt x="1969" y="171"/>
                  </a:lnTo>
                  <a:lnTo>
                    <a:pt x="1959" y="163"/>
                  </a:lnTo>
                  <a:lnTo>
                    <a:pt x="1948" y="155"/>
                  </a:lnTo>
                  <a:lnTo>
                    <a:pt x="1937" y="147"/>
                  </a:lnTo>
                  <a:lnTo>
                    <a:pt x="1925" y="141"/>
                  </a:lnTo>
                  <a:lnTo>
                    <a:pt x="1913" y="135"/>
                  </a:lnTo>
                  <a:lnTo>
                    <a:pt x="1901" y="129"/>
                  </a:lnTo>
                  <a:lnTo>
                    <a:pt x="1888" y="124"/>
                  </a:lnTo>
                  <a:lnTo>
                    <a:pt x="1876" y="119"/>
                  </a:lnTo>
                  <a:lnTo>
                    <a:pt x="1862" y="116"/>
                  </a:lnTo>
                  <a:lnTo>
                    <a:pt x="1848" y="113"/>
                  </a:lnTo>
                  <a:lnTo>
                    <a:pt x="1835" y="110"/>
                  </a:lnTo>
                  <a:lnTo>
                    <a:pt x="1821" y="108"/>
                  </a:lnTo>
                  <a:lnTo>
                    <a:pt x="1807" y="107"/>
                  </a:lnTo>
                  <a:lnTo>
                    <a:pt x="1793" y="107"/>
                  </a:lnTo>
                  <a:lnTo>
                    <a:pt x="1779" y="107"/>
                  </a:lnTo>
                  <a:lnTo>
                    <a:pt x="1765" y="108"/>
                  </a:lnTo>
                  <a:lnTo>
                    <a:pt x="1751" y="110"/>
                  </a:lnTo>
                  <a:lnTo>
                    <a:pt x="1737" y="113"/>
                  </a:lnTo>
                  <a:lnTo>
                    <a:pt x="1724" y="116"/>
                  </a:lnTo>
                  <a:lnTo>
                    <a:pt x="1711" y="119"/>
                  </a:lnTo>
                  <a:lnTo>
                    <a:pt x="1698" y="124"/>
                  </a:lnTo>
                  <a:lnTo>
                    <a:pt x="1686" y="129"/>
                  </a:lnTo>
                  <a:lnTo>
                    <a:pt x="1674" y="135"/>
                  </a:lnTo>
                  <a:lnTo>
                    <a:pt x="1662" y="141"/>
                  </a:lnTo>
                  <a:lnTo>
                    <a:pt x="1650" y="147"/>
                  </a:lnTo>
                  <a:lnTo>
                    <a:pt x="1639" y="155"/>
                  </a:lnTo>
                  <a:lnTo>
                    <a:pt x="1628" y="163"/>
                  </a:lnTo>
                  <a:lnTo>
                    <a:pt x="1618" y="171"/>
                  </a:lnTo>
                  <a:lnTo>
                    <a:pt x="1608" y="180"/>
                  </a:lnTo>
                  <a:lnTo>
                    <a:pt x="1598" y="189"/>
                  </a:lnTo>
                  <a:lnTo>
                    <a:pt x="1589" y="199"/>
                  </a:lnTo>
                  <a:lnTo>
                    <a:pt x="1580" y="209"/>
                  </a:lnTo>
                  <a:lnTo>
                    <a:pt x="1572" y="219"/>
                  </a:lnTo>
                  <a:lnTo>
                    <a:pt x="1565" y="230"/>
                  </a:lnTo>
                  <a:lnTo>
                    <a:pt x="1557" y="241"/>
                  </a:lnTo>
                  <a:lnTo>
                    <a:pt x="1551" y="253"/>
                  </a:lnTo>
                  <a:lnTo>
                    <a:pt x="1545" y="265"/>
                  </a:lnTo>
                  <a:lnTo>
                    <a:pt x="1539" y="277"/>
                  </a:lnTo>
                  <a:lnTo>
                    <a:pt x="1534" y="290"/>
                  </a:lnTo>
                  <a:lnTo>
                    <a:pt x="1530" y="304"/>
                  </a:lnTo>
                  <a:lnTo>
                    <a:pt x="1526" y="317"/>
                  </a:lnTo>
                  <a:lnTo>
                    <a:pt x="1523" y="330"/>
                  </a:lnTo>
                  <a:lnTo>
                    <a:pt x="1520" y="344"/>
                  </a:lnTo>
                  <a:lnTo>
                    <a:pt x="1519" y="357"/>
                  </a:lnTo>
                  <a:lnTo>
                    <a:pt x="1518" y="371"/>
                  </a:lnTo>
                  <a:lnTo>
                    <a:pt x="1517" y="385"/>
                  </a:lnTo>
                  <a:lnTo>
                    <a:pt x="1518" y="399"/>
                  </a:lnTo>
                  <a:lnTo>
                    <a:pt x="1519" y="413"/>
                  </a:lnTo>
                  <a:lnTo>
                    <a:pt x="1520" y="427"/>
                  </a:lnTo>
                  <a:lnTo>
                    <a:pt x="1523" y="441"/>
                  </a:lnTo>
                  <a:lnTo>
                    <a:pt x="1526" y="454"/>
                  </a:lnTo>
                  <a:lnTo>
                    <a:pt x="1530" y="467"/>
                  </a:lnTo>
                  <a:lnTo>
                    <a:pt x="1534" y="480"/>
                  </a:lnTo>
                  <a:lnTo>
                    <a:pt x="1539" y="493"/>
                  </a:lnTo>
                  <a:lnTo>
                    <a:pt x="1545" y="505"/>
                  </a:lnTo>
                  <a:lnTo>
                    <a:pt x="1551" y="517"/>
                  </a:lnTo>
                  <a:lnTo>
                    <a:pt x="1557" y="528"/>
                  </a:lnTo>
                  <a:lnTo>
                    <a:pt x="1565" y="539"/>
                  </a:lnTo>
                  <a:lnTo>
                    <a:pt x="1572" y="550"/>
                  </a:lnTo>
                  <a:lnTo>
                    <a:pt x="1580" y="561"/>
                  </a:lnTo>
                  <a:lnTo>
                    <a:pt x="1589" y="571"/>
                  </a:lnTo>
                  <a:lnTo>
                    <a:pt x="1598" y="580"/>
                  </a:lnTo>
                  <a:lnTo>
                    <a:pt x="1608" y="589"/>
                  </a:lnTo>
                  <a:lnTo>
                    <a:pt x="1618" y="598"/>
                  </a:lnTo>
                  <a:lnTo>
                    <a:pt x="1628" y="606"/>
                  </a:lnTo>
                  <a:lnTo>
                    <a:pt x="1639" y="614"/>
                  </a:lnTo>
                  <a:lnTo>
                    <a:pt x="1650" y="621"/>
                  </a:lnTo>
                  <a:lnTo>
                    <a:pt x="1662" y="628"/>
                  </a:lnTo>
                  <a:lnTo>
                    <a:pt x="1674" y="634"/>
                  </a:lnTo>
                  <a:lnTo>
                    <a:pt x="1686" y="639"/>
                  </a:lnTo>
                  <a:lnTo>
                    <a:pt x="1698" y="644"/>
                  </a:lnTo>
                  <a:lnTo>
                    <a:pt x="1711" y="648"/>
                  </a:lnTo>
                  <a:lnTo>
                    <a:pt x="1724" y="652"/>
                  </a:lnTo>
                  <a:lnTo>
                    <a:pt x="1737" y="655"/>
                  </a:lnTo>
                  <a:lnTo>
                    <a:pt x="1751" y="658"/>
                  </a:lnTo>
                  <a:lnTo>
                    <a:pt x="1765" y="659"/>
                  </a:lnTo>
                  <a:lnTo>
                    <a:pt x="1779" y="660"/>
                  </a:lnTo>
                  <a:lnTo>
                    <a:pt x="1793" y="661"/>
                  </a:lnTo>
                  <a:close/>
                  <a:moveTo>
                    <a:pt x="2426" y="111"/>
                  </a:moveTo>
                  <a:lnTo>
                    <a:pt x="2235" y="111"/>
                  </a:lnTo>
                  <a:lnTo>
                    <a:pt x="2230" y="111"/>
                  </a:lnTo>
                  <a:lnTo>
                    <a:pt x="2227" y="109"/>
                  </a:lnTo>
                  <a:lnTo>
                    <a:pt x="2223" y="107"/>
                  </a:lnTo>
                  <a:lnTo>
                    <a:pt x="2220" y="105"/>
                  </a:lnTo>
                  <a:lnTo>
                    <a:pt x="2218" y="102"/>
                  </a:lnTo>
                  <a:lnTo>
                    <a:pt x="2216" y="98"/>
                  </a:lnTo>
                  <a:lnTo>
                    <a:pt x="2215" y="95"/>
                  </a:lnTo>
                  <a:lnTo>
                    <a:pt x="2214" y="91"/>
                  </a:lnTo>
                  <a:lnTo>
                    <a:pt x="2214" y="31"/>
                  </a:lnTo>
                  <a:lnTo>
                    <a:pt x="2215" y="27"/>
                  </a:lnTo>
                  <a:lnTo>
                    <a:pt x="2216" y="24"/>
                  </a:lnTo>
                  <a:lnTo>
                    <a:pt x="2218" y="20"/>
                  </a:lnTo>
                  <a:lnTo>
                    <a:pt x="2220" y="17"/>
                  </a:lnTo>
                  <a:lnTo>
                    <a:pt x="2223" y="15"/>
                  </a:lnTo>
                  <a:lnTo>
                    <a:pt x="2227" y="13"/>
                  </a:lnTo>
                  <a:lnTo>
                    <a:pt x="2230" y="11"/>
                  </a:lnTo>
                  <a:lnTo>
                    <a:pt x="2235" y="11"/>
                  </a:lnTo>
                  <a:lnTo>
                    <a:pt x="2727" y="11"/>
                  </a:lnTo>
                  <a:lnTo>
                    <a:pt x="2732" y="11"/>
                  </a:lnTo>
                  <a:lnTo>
                    <a:pt x="2736" y="13"/>
                  </a:lnTo>
                  <a:lnTo>
                    <a:pt x="2739" y="15"/>
                  </a:lnTo>
                  <a:lnTo>
                    <a:pt x="2742" y="17"/>
                  </a:lnTo>
                  <a:lnTo>
                    <a:pt x="2744" y="20"/>
                  </a:lnTo>
                  <a:lnTo>
                    <a:pt x="2746" y="24"/>
                  </a:lnTo>
                  <a:lnTo>
                    <a:pt x="2747" y="27"/>
                  </a:lnTo>
                  <a:lnTo>
                    <a:pt x="2748" y="31"/>
                  </a:lnTo>
                  <a:lnTo>
                    <a:pt x="2748" y="91"/>
                  </a:lnTo>
                  <a:lnTo>
                    <a:pt x="2747" y="95"/>
                  </a:lnTo>
                  <a:lnTo>
                    <a:pt x="2746" y="98"/>
                  </a:lnTo>
                  <a:lnTo>
                    <a:pt x="2744" y="102"/>
                  </a:lnTo>
                  <a:lnTo>
                    <a:pt x="2742" y="105"/>
                  </a:lnTo>
                  <a:lnTo>
                    <a:pt x="2739" y="107"/>
                  </a:lnTo>
                  <a:lnTo>
                    <a:pt x="2736" y="109"/>
                  </a:lnTo>
                  <a:lnTo>
                    <a:pt x="2732" y="111"/>
                  </a:lnTo>
                  <a:lnTo>
                    <a:pt x="2727" y="111"/>
                  </a:lnTo>
                  <a:lnTo>
                    <a:pt x="2536" y="111"/>
                  </a:lnTo>
                  <a:lnTo>
                    <a:pt x="2536" y="736"/>
                  </a:lnTo>
                  <a:lnTo>
                    <a:pt x="2536" y="740"/>
                  </a:lnTo>
                  <a:lnTo>
                    <a:pt x="2535" y="744"/>
                  </a:lnTo>
                  <a:lnTo>
                    <a:pt x="2533" y="747"/>
                  </a:lnTo>
                  <a:lnTo>
                    <a:pt x="2530" y="750"/>
                  </a:lnTo>
                  <a:lnTo>
                    <a:pt x="2527" y="753"/>
                  </a:lnTo>
                  <a:lnTo>
                    <a:pt x="2524" y="755"/>
                  </a:lnTo>
                  <a:lnTo>
                    <a:pt x="2520" y="756"/>
                  </a:lnTo>
                  <a:lnTo>
                    <a:pt x="2516" y="757"/>
                  </a:lnTo>
                  <a:lnTo>
                    <a:pt x="2446" y="757"/>
                  </a:lnTo>
                  <a:lnTo>
                    <a:pt x="2442" y="756"/>
                  </a:lnTo>
                  <a:lnTo>
                    <a:pt x="2438" y="755"/>
                  </a:lnTo>
                  <a:lnTo>
                    <a:pt x="2435" y="753"/>
                  </a:lnTo>
                  <a:lnTo>
                    <a:pt x="2432" y="750"/>
                  </a:lnTo>
                  <a:lnTo>
                    <a:pt x="2429" y="747"/>
                  </a:lnTo>
                  <a:lnTo>
                    <a:pt x="2427" y="744"/>
                  </a:lnTo>
                  <a:lnTo>
                    <a:pt x="2426" y="740"/>
                  </a:lnTo>
                  <a:lnTo>
                    <a:pt x="2426" y="736"/>
                  </a:lnTo>
                  <a:lnTo>
                    <a:pt x="2426" y="111"/>
                  </a:lnTo>
                  <a:close/>
                  <a:moveTo>
                    <a:pt x="2885" y="31"/>
                  </a:moveTo>
                  <a:lnTo>
                    <a:pt x="2885" y="27"/>
                  </a:lnTo>
                  <a:lnTo>
                    <a:pt x="2886" y="24"/>
                  </a:lnTo>
                  <a:lnTo>
                    <a:pt x="2888" y="20"/>
                  </a:lnTo>
                  <a:lnTo>
                    <a:pt x="2891" y="17"/>
                  </a:lnTo>
                  <a:lnTo>
                    <a:pt x="2893" y="15"/>
                  </a:lnTo>
                  <a:lnTo>
                    <a:pt x="2897" y="13"/>
                  </a:lnTo>
                  <a:lnTo>
                    <a:pt x="2901" y="11"/>
                  </a:lnTo>
                  <a:lnTo>
                    <a:pt x="2905" y="11"/>
                  </a:lnTo>
                  <a:lnTo>
                    <a:pt x="3331" y="11"/>
                  </a:lnTo>
                  <a:lnTo>
                    <a:pt x="3336" y="11"/>
                  </a:lnTo>
                  <a:lnTo>
                    <a:pt x="3340" y="13"/>
                  </a:lnTo>
                  <a:lnTo>
                    <a:pt x="3343" y="15"/>
                  </a:lnTo>
                  <a:lnTo>
                    <a:pt x="3346" y="17"/>
                  </a:lnTo>
                  <a:lnTo>
                    <a:pt x="3348" y="20"/>
                  </a:lnTo>
                  <a:lnTo>
                    <a:pt x="3350" y="24"/>
                  </a:lnTo>
                  <a:lnTo>
                    <a:pt x="3351" y="27"/>
                  </a:lnTo>
                  <a:lnTo>
                    <a:pt x="3352" y="31"/>
                  </a:lnTo>
                  <a:lnTo>
                    <a:pt x="3352" y="91"/>
                  </a:lnTo>
                  <a:lnTo>
                    <a:pt x="3351" y="95"/>
                  </a:lnTo>
                  <a:lnTo>
                    <a:pt x="3350" y="98"/>
                  </a:lnTo>
                  <a:lnTo>
                    <a:pt x="3348" y="102"/>
                  </a:lnTo>
                  <a:lnTo>
                    <a:pt x="3346" y="105"/>
                  </a:lnTo>
                  <a:lnTo>
                    <a:pt x="3343" y="107"/>
                  </a:lnTo>
                  <a:lnTo>
                    <a:pt x="3340" y="109"/>
                  </a:lnTo>
                  <a:lnTo>
                    <a:pt x="3336" y="111"/>
                  </a:lnTo>
                  <a:lnTo>
                    <a:pt x="3331" y="111"/>
                  </a:lnTo>
                  <a:lnTo>
                    <a:pt x="2994" y="111"/>
                  </a:lnTo>
                  <a:lnTo>
                    <a:pt x="2994" y="329"/>
                  </a:lnTo>
                  <a:lnTo>
                    <a:pt x="3278" y="329"/>
                  </a:lnTo>
                  <a:lnTo>
                    <a:pt x="3282" y="329"/>
                  </a:lnTo>
                  <a:lnTo>
                    <a:pt x="3286" y="331"/>
                  </a:lnTo>
                  <a:lnTo>
                    <a:pt x="3289" y="333"/>
                  </a:lnTo>
                  <a:lnTo>
                    <a:pt x="3292" y="335"/>
                  </a:lnTo>
                  <a:lnTo>
                    <a:pt x="3295" y="338"/>
                  </a:lnTo>
                  <a:lnTo>
                    <a:pt x="3297" y="342"/>
                  </a:lnTo>
                  <a:lnTo>
                    <a:pt x="3298" y="345"/>
                  </a:lnTo>
                  <a:lnTo>
                    <a:pt x="3298" y="349"/>
                  </a:lnTo>
                  <a:lnTo>
                    <a:pt x="3298" y="409"/>
                  </a:lnTo>
                  <a:lnTo>
                    <a:pt x="3298" y="413"/>
                  </a:lnTo>
                  <a:lnTo>
                    <a:pt x="3297" y="417"/>
                  </a:lnTo>
                  <a:lnTo>
                    <a:pt x="3295" y="420"/>
                  </a:lnTo>
                  <a:lnTo>
                    <a:pt x="3292" y="423"/>
                  </a:lnTo>
                  <a:lnTo>
                    <a:pt x="3289" y="426"/>
                  </a:lnTo>
                  <a:lnTo>
                    <a:pt x="3286" y="427"/>
                  </a:lnTo>
                  <a:lnTo>
                    <a:pt x="3282" y="429"/>
                  </a:lnTo>
                  <a:lnTo>
                    <a:pt x="3278" y="429"/>
                  </a:lnTo>
                  <a:lnTo>
                    <a:pt x="2994" y="429"/>
                  </a:lnTo>
                  <a:lnTo>
                    <a:pt x="2994" y="658"/>
                  </a:lnTo>
                  <a:lnTo>
                    <a:pt x="3331" y="658"/>
                  </a:lnTo>
                  <a:lnTo>
                    <a:pt x="3336" y="658"/>
                  </a:lnTo>
                  <a:lnTo>
                    <a:pt x="3340" y="659"/>
                  </a:lnTo>
                  <a:lnTo>
                    <a:pt x="3343" y="661"/>
                  </a:lnTo>
                  <a:lnTo>
                    <a:pt x="3346" y="664"/>
                  </a:lnTo>
                  <a:lnTo>
                    <a:pt x="3348" y="667"/>
                  </a:lnTo>
                  <a:lnTo>
                    <a:pt x="3350" y="670"/>
                  </a:lnTo>
                  <a:lnTo>
                    <a:pt x="3351" y="674"/>
                  </a:lnTo>
                  <a:lnTo>
                    <a:pt x="3352" y="678"/>
                  </a:lnTo>
                  <a:lnTo>
                    <a:pt x="3352" y="736"/>
                  </a:lnTo>
                  <a:lnTo>
                    <a:pt x="3351" y="740"/>
                  </a:lnTo>
                  <a:lnTo>
                    <a:pt x="3350" y="744"/>
                  </a:lnTo>
                  <a:lnTo>
                    <a:pt x="3348" y="747"/>
                  </a:lnTo>
                  <a:lnTo>
                    <a:pt x="3346" y="750"/>
                  </a:lnTo>
                  <a:lnTo>
                    <a:pt x="3343" y="753"/>
                  </a:lnTo>
                  <a:lnTo>
                    <a:pt x="3340" y="755"/>
                  </a:lnTo>
                  <a:lnTo>
                    <a:pt x="3336" y="756"/>
                  </a:lnTo>
                  <a:lnTo>
                    <a:pt x="3331" y="757"/>
                  </a:lnTo>
                  <a:lnTo>
                    <a:pt x="2905" y="757"/>
                  </a:lnTo>
                  <a:lnTo>
                    <a:pt x="2901" y="756"/>
                  </a:lnTo>
                  <a:lnTo>
                    <a:pt x="2897" y="755"/>
                  </a:lnTo>
                  <a:lnTo>
                    <a:pt x="2893" y="753"/>
                  </a:lnTo>
                  <a:lnTo>
                    <a:pt x="2891" y="750"/>
                  </a:lnTo>
                  <a:lnTo>
                    <a:pt x="2888" y="747"/>
                  </a:lnTo>
                  <a:lnTo>
                    <a:pt x="2886" y="744"/>
                  </a:lnTo>
                  <a:lnTo>
                    <a:pt x="2885" y="740"/>
                  </a:lnTo>
                  <a:lnTo>
                    <a:pt x="2885" y="736"/>
                  </a:lnTo>
                  <a:lnTo>
                    <a:pt x="2885" y="31"/>
                  </a:lnTo>
                  <a:close/>
                </a:path>
              </a:pathLst>
            </a:custGeom>
            <a:solidFill>
              <a:srgbClr val="40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8370046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PIC5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777038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4652963"/>
            <a:ext cx="12192000" cy="2124075"/>
          </a:xfrm>
          <a:solidFill>
            <a:srgbClr val="F2F2F2">
              <a:alpha val="40000"/>
            </a:srgbClr>
          </a:solidFill>
        </p:spPr>
        <p:txBody>
          <a:bodyPr lIns="756000" tIns="504000" rIns="756000" bIns="936000" anchor="t" anchorCtr="0"/>
          <a:lstStyle>
            <a:lvl1pPr algn="l">
              <a:lnSpc>
                <a:spcPct val="85000"/>
              </a:lnSpc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6763" y="5949350"/>
            <a:ext cx="11017249" cy="359374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EAB3B1D9-5529-4186-8634-E90761927DBE}" type="datetime1">
              <a:rPr lang="fi-FI" smtClean="0"/>
              <a:t>31.3.2025</a:t>
            </a:fld>
            <a:endParaRPr lang="en-US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Presentation name and Author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50B285B-2D20-4CC2-81CD-215A1F1E1130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1" name="Group 10"/>
          <p:cNvGrpSpPr>
            <a:grpSpLocks noChangeAspect="1"/>
          </p:cNvGrpSpPr>
          <p:nvPr userDrawn="1"/>
        </p:nvGrpSpPr>
        <p:grpSpPr>
          <a:xfrm>
            <a:off x="10081690" y="404580"/>
            <a:ext cx="1703100" cy="270000"/>
            <a:chOff x="1455738" y="2698750"/>
            <a:chExt cx="9272588" cy="1470025"/>
          </a:xfrm>
          <a:solidFill>
            <a:schemeClr val="bg1"/>
          </a:solidFill>
        </p:grpSpPr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1455738" y="2698750"/>
              <a:ext cx="2762250" cy="1416050"/>
            </a:xfrm>
            <a:custGeom>
              <a:avLst/>
              <a:gdLst>
                <a:gd name="T0" fmla="*/ 1740 w 1740"/>
                <a:gd name="T1" fmla="*/ 192 h 892"/>
                <a:gd name="T2" fmla="*/ 1591 w 1740"/>
                <a:gd name="T3" fmla="*/ 483 h 892"/>
                <a:gd name="T4" fmla="*/ 1457 w 1740"/>
                <a:gd name="T5" fmla="*/ 741 h 892"/>
                <a:gd name="T6" fmla="*/ 1047 w 1740"/>
                <a:gd name="T7" fmla="*/ 709 h 892"/>
                <a:gd name="T8" fmla="*/ 607 w 1740"/>
                <a:gd name="T9" fmla="*/ 713 h 892"/>
                <a:gd name="T10" fmla="*/ 257 w 1740"/>
                <a:gd name="T11" fmla="*/ 742 h 892"/>
                <a:gd name="T12" fmla="*/ 149 w 1740"/>
                <a:gd name="T13" fmla="*/ 483 h 892"/>
                <a:gd name="T14" fmla="*/ 0 w 1740"/>
                <a:gd name="T15" fmla="*/ 189 h 892"/>
                <a:gd name="T16" fmla="*/ 36 w 1740"/>
                <a:gd name="T17" fmla="*/ 180 h 892"/>
                <a:gd name="T18" fmla="*/ 121 w 1740"/>
                <a:gd name="T19" fmla="*/ 218 h 892"/>
                <a:gd name="T20" fmla="*/ 194 w 1740"/>
                <a:gd name="T21" fmla="*/ 280 h 892"/>
                <a:gd name="T22" fmla="*/ 249 w 1740"/>
                <a:gd name="T23" fmla="*/ 235 h 892"/>
                <a:gd name="T24" fmla="*/ 335 w 1740"/>
                <a:gd name="T25" fmla="*/ 232 h 892"/>
                <a:gd name="T26" fmla="*/ 390 w 1740"/>
                <a:gd name="T27" fmla="*/ 272 h 892"/>
                <a:gd name="T28" fmla="*/ 362 w 1740"/>
                <a:gd name="T29" fmla="*/ 310 h 892"/>
                <a:gd name="T30" fmla="*/ 334 w 1740"/>
                <a:gd name="T31" fmla="*/ 386 h 892"/>
                <a:gd name="T32" fmla="*/ 344 w 1740"/>
                <a:gd name="T33" fmla="*/ 462 h 892"/>
                <a:gd name="T34" fmla="*/ 405 w 1740"/>
                <a:gd name="T35" fmla="*/ 538 h 892"/>
                <a:gd name="T36" fmla="*/ 492 w 1740"/>
                <a:gd name="T37" fmla="*/ 572 h 892"/>
                <a:gd name="T38" fmla="*/ 590 w 1740"/>
                <a:gd name="T39" fmla="*/ 561 h 892"/>
                <a:gd name="T40" fmla="*/ 658 w 1740"/>
                <a:gd name="T41" fmla="*/ 519 h 892"/>
                <a:gd name="T42" fmla="*/ 706 w 1740"/>
                <a:gd name="T43" fmla="*/ 439 h 892"/>
                <a:gd name="T44" fmla="*/ 704 w 1740"/>
                <a:gd name="T45" fmla="*/ 352 h 892"/>
                <a:gd name="T46" fmla="*/ 653 w 1740"/>
                <a:gd name="T47" fmla="*/ 275 h 892"/>
                <a:gd name="T48" fmla="*/ 596 w 1740"/>
                <a:gd name="T49" fmla="*/ 239 h 892"/>
                <a:gd name="T50" fmla="*/ 615 w 1740"/>
                <a:gd name="T51" fmla="*/ 201 h 892"/>
                <a:gd name="T52" fmla="*/ 678 w 1740"/>
                <a:gd name="T53" fmla="*/ 167 h 892"/>
                <a:gd name="T54" fmla="*/ 760 w 1740"/>
                <a:gd name="T55" fmla="*/ 178 h 892"/>
                <a:gd name="T56" fmla="*/ 790 w 1740"/>
                <a:gd name="T57" fmla="*/ 100 h 892"/>
                <a:gd name="T58" fmla="*/ 822 w 1740"/>
                <a:gd name="T59" fmla="*/ 39 h 892"/>
                <a:gd name="T60" fmla="*/ 871 w 1740"/>
                <a:gd name="T61" fmla="*/ 0 h 892"/>
                <a:gd name="T62" fmla="*/ 920 w 1740"/>
                <a:gd name="T63" fmla="*/ 39 h 892"/>
                <a:gd name="T64" fmla="*/ 962 w 1740"/>
                <a:gd name="T65" fmla="*/ 152 h 892"/>
                <a:gd name="T66" fmla="*/ 1027 w 1740"/>
                <a:gd name="T67" fmla="*/ 165 h 892"/>
                <a:gd name="T68" fmla="*/ 1093 w 1740"/>
                <a:gd name="T69" fmla="*/ 177 h 892"/>
                <a:gd name="T70" fmla="*/ 1145 w 1740"/>
                <a:gd name="T71" fmla="*/ 228 h 892"/>
                <a:gd name="T72" fmla="*/ 1134 w 1740"/>
                <a:gd name="T73" fmla="*/ 245 h 892"/>
                <a:gd name="T74" fmla="*/ 1062 w 1740"/>
                <a:gd name="T75" fmla="*/ 301 h 892"/>
                <a:gd name="T76" fmla="*/ 1033 w 1740"/>
                <a:gd name="T77" fmla="*/ 364 h 892"/>
                <a:gd name="T78" fmla="*/ 1037 w 1740"/>
                <a:gd name="T79" fmla="*/ 447 h 892"/>
                <a:gd name="T80" fmla="*/ 1076 w 1740"/>
                <a:gd name="T81" fmla="*/ 513 h 892"/>
                <a:gd name="T82" fmla="*/ 1159 w 1740"/>
                <a:gd name="T83" fmla="*/ 564 h 892"/>
                <a:gd name="T84" fmla="*/ 1257 w 1740"/>
                <a:gd name="T85" fmla="*/ 570 h 892"/>
                <a:gd name="T86" fmla="*/ 1348 w 1740"/>
                <a:gd name="T87" fmla="*/ 527 h 892"/>
                <a:gd name="T88" fmla="*/ 1393 w 1740"/>
                <a:gd name="T89" fmla="*/ 470 h 892"/>
                <a:gd name="T90" fmla="*/ 1406 w 1740"/>
                <a:gd name="T91" fmla="*/ 386 h 892"/>
                <a:gd name="T92" fmla="*/ 1378 w 1740"/>
                <a:gd name="T93" fmla="*/ 310 h 892"/>
                <a:gd name="T94" fmla="*/ 1350 w 1740"/>
                <a:gd name="T95" fmla="*/ 270 h 892"/>
                <a:gd name="T96" fmla="*/ 1400 w 1740"/>
                <a:gd name="T97" fmla="*/ 234 h 892"/>
                <a:gd name="T98" fmla="*/ 1468 w 1740"/>
                <a:gd name="T99" fmla="*/ 228 h 892"/>
                <a:gd name="T100" fmla="*/ 1530 w 1740"/>
                <a:gd name="T101" fmla="*/ 261 h 892"/>
                <a:gd name="T102" fmla="*/ 1602 w 1740"/>
                <a:gd name="T103" fmla="*/ 232 h 892"/>
                <a:gd name="T104" fmla="*/ 1696 w 1740"/>
                <a:gd name="T105" fmla="*/ 181 h 892"/>
                <a:gd name="T106" fmla="*/ 1458 w 1740"/>
                <a:gd name="T107" fmla="*/ 812 h 892"/>
                <a:gd name="T108" fmla="*/ 1432 w 1740"/>
                <a:gd name="T109" fmla="*/ 892 h 892"/>
                <a:gd name="T110" fmla="*/ 946 w 1740"/>
                <a:gd name="T111" fmla="*/ 861 h 892"/>
                <a:gd name="T112" fmla="*/ 313 w 1740"/>
                <a:gd name="T113" fmla="*/ 892 h 892"/>
                <a:gd name="T114" fmla="*/ 280 w 1740"/>
                <a:gd name="T115" fmla="*/ 816 h 892"/>
                <a:gd name="T116" fmla="*/ 457 w 1740"/>
                <a:gd name="T117" fmla="*/ 790 h 892"/>
                <a:gd name="T118" fmla="*/ 914 w 1740"/>
                <a:gd name="T119" fmla="*/ 772 h 892"/>
                <a:gd name="T120" fmla="*/ 1449 w 1740"/>
                <a:gd name="T121" fmla="*/ 806 h 8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40" h="892">
                  <a:moveTo>
                    <a:pt x="1729" y="178"/>
                  </a:moveTo>
                  <a:lnTo>
                    <a:pt x="1734" y="179"/>
                  </a:lnTo>
                  <a:lnTo>
                    <a:pt x="1735" y="180"/>
                  </a:lnTo>
                  <a:lnTo>
                    <a:pt x="1737" y="181"/>
                  </a:lnTo>
                  <a:lnTo>
                    <a:pt x="1738" y="182"/>
                  </a:lnTo>
                  <a:lnTo>
                    <a:pt x="1739" y="184"/>
                  </a:lnTo>
                  <a:lnTo>
                    <a:pt x="1740" y="186"/>
                  </a:lnTo>
                  <a:lnTo>
                    <a:pt x="1740" y="188"/>
                  </a:lnTo>
                  <a:lnTo>
                    <a:pt x="1740" y="192"/>
                  </a:lnTo>
                  <a:lnTo>
                    <a:pt x="1738" y="194"/>
                  </a:lnTo>
                  <a:lnTo>
                    <a:pt x="1718" y="230"/>
                  </a:lnTo>
                  <a:lnTo>
                    <a:pt x="1698" y="266"/>
                  </a:lnTo>
                  <a:lnTo>
                    <a:pt x="1678" y="302"/>
                  </a:lnTo>
                  <a:lnTo>
                    <a:pt x="1659" y="338"/>
                  </a:lnTo>
                  <a:lnTo>
                    <a:pt x="1641" y="375"/>
                  </a:lnTo>
                  <a:lnTo>
                    <a:pt x="1624" y="411"/>
                  </a:lnTo>
                  <a:lnTo>
                    <a:pt x="1607" y="447"/>
                  </a:lnTo>
                  <a:lnTo>
                    <a:pt x="1591" y="483"/>
                  </a:lnTo>
                  <a:lnTo>
                    <a:pt x="1561" y="552"/>
                  </a:lnTo>
                  <a:lnTo>
                    <a:pt x="1534" y="618"/>
                  </a:lnTo>
                  <a:lnTo>
                    <a:pt x="1510" y="680"/>
                  </a:lnTo>
                  <a:lnTo>
                    <a:pt x="1489" y="736"/>
                  </a:lnTo>
                  <a:lnTo>
                    <a:pt x="1488" y="739"/>
                  </a:lnTo>
                  <a:lnTo>
                    <a:pt x="1485" y="741"/>
                  </a:lnTo>
                  <a:lnTo>
                    <a:pt x="1482" y="743"/>
                  </a:lnTo>
                  <a:lnTo>
                    <a:pt x="1479" y="743"/>
                  </a:lnTo>
                  <a:lnTo>
                    <a:pt x="1457" y="741"/>
                  </a:lnTo>
                  <a:lnTo>
                    <a:pt x="1412" y="736"/>
                  </a:lnTo>
                  <a:lnTo>
                    <a:pt x="1385" y="733"/>
                  </a:lnTo>
                  <a:lnTo>
                    <a:pt x="1356" y="730"/>
                  </a:lnTo>
                  <a:lnTo>
                    <a:pt x="1324" y="727"/>
                  </a:lnTo>
                  <a:lnTo>
                    <a:pt x="1289" y="724"/>
                  </a:lnTo>
                  <a:lnTo>
                    <a:pt x="1214" y="718"/>
                  </a:lnTo>
                  <a:lnTo>
                    <a:pt x="1133" y="713"/>
                  </a:lnTo>
                  <a:lnTo>
                    <a:pt x="1090" y="711"/>
                  </a:lnTo>
                  <a:lnTo>
                    <a:pt x="1047" y="709"/>
                  </a:lnTo>
                  <a:lnTo>
                    <a:pt x="1003" y="708"/>
                  </a:lnTo>
                  <a:lnTo>
                    <a:pt x="959" y="707"/>
                  </a:lnTo>
                  <a:lnTo>
                    <a:pt x="915" y="706"/>
                  </a:lnTo>
                  <a:lnTo>
                    <a:pt x="871" y="706"/>
                  </a:lnTo>
                  <a:lnTo>
                    <a:pt x="826" y="706"/>
                  </a:lnTo>
                  <a:lnTo>
                    <a:pt x="782" y="707"/>
                  </a:lnTo>
                  <a:lnTo>
                    <a:pt x="738" y="708"/>
                  </a:lnTo>
                  <a:lnTo>
                    <a:pt x="693" y="709"/>
                  </a:lnTo>
                  <a:lnTo>
                    <a:pt x="607" y="713"/>
                  </a:lnTo>
                  <a:lnTo>
                    <a:pt x="526" y="718"/>
                  </a:lnTo>
                  <a:lnTo>
                    <a:pt x="488" y="721"/>
                  </a:lnTo>
                  <a:lnTo>
                    <a:pt x="451" y="724"/>
                  </a:lnTo>
                  <a:lnTo>
                    <a:pt x="384" y="730"/>
                  </a:lnTo>
                  <a:lnTo>
                    <a:pt x="328" y="736"/>
                  </a:lnTo>
                  <a:lnTo>
                    <a:pt x="284" y="741"/>
                  </a:lnTo>
                  <a:lnTo>
                    <a:pt x="263" y="743"/>
                  </a:lnTo>
                  <a:lnTo>
                    <a:pt x="259" y="743"/>
                  </a:lnTo>
                  <a:lnTo>
                    <a:pt x="257" y="742"/>
                  </a:lnTo>
                  <a:lnTo>
                    <a:pt x="255" y="741"/>
                  </a:lnTo>
                  <a:lnTo>
                    <a:pt x="254" y="740"/>
                  </a:lnTo>
                  <a:lnTo>
                    <a:pt x="253" y="739"/>
                  </a:lnTo>
                  <a:lnTo>
                    <a:pt x="251" y="736"/>
                  </a:lnTo>
                  <a:lnTo>
                    <a:pt x="230" y="680"/>
                  </a:lnTo>
                  <a:lnTo>
                    <a:pt x="206" y="618"/>
                  </a:lnTo>
                  <a:lnTo>
                    <a:pt x="179" y="552"/>
                  </a:lnTo>
                  <a:lnTo>
                    <a:pt x="164" y="518"/>
                  </a:lnTo>
                  <a:lnTo>
                    <a:pt x="149" y="483"/>
                  </a:lnTo>
                  <a:lnTo>
                    <a:pt x="116" y="411"/>
                  </a:lnTo>
                  <a:lnTo>
                    <a:pt x="99" y="374"/>
                  </a:lnTo>
                  <a:lnTo>
                    <a:pt x="81" y="338"/>
                  </a:lnTo>
                  <a:lnTo>
                    <a:pt x="62" y="302"/>
                  </a:lnTo>
                  <a:lnTo>
                    <a:pt x="42" y="266"/>
                  </a:lnTo>
                  <a:lnTo>
                    <a:pt x="22" y="230"/>
                  </a:lnTo>
                  <a:lnTo>
                    <a:pt x="2" y="194"/>
                  </a:lnTo>
                  <a:lnTo>
                    <a:pt x="1" y="191"/>
                  </a:lnTo>
                  <a:lnTo>
                    <a:pt x="0" y="189"/>
                  </a:lnTo>
                  <a:lnTo>
                    <a:pt x="0" y="186"/>
                  </a:lnTo>
                  <a:lnTo>
                    <a:pt x="2" y="183"/>
                  </a:lnTo>
                  <a:lnTo>
                    <a:pt x="3" y="181"/>
                  </a:lnTo>
                  <a:lnTo>
                    <a:pt x="6" y="179"/>
                  </a:lnTo>
                  <a:lnTo>
                    <a:pt x="8" y="178"/>
                  </a:lnTo>
                  <a:lnTo>
                    <a:pt x="11" y="178"/>
                  </a:lnTo>
                  <a:lnTo>
                    <a:pt x="19" y="178"/>
                  </a:lnTo>
                  <a:lnTo>
                    <a:pt x="28" y="179"/>
                  </a:lnTo>
                  <a:lnTo>
                    <a:pt x="36" y="180"/>
                  </a:lnTo>
                  <a:lnTo>
                    <a:pt x="44" y="181"/>
                  </a:lnTo>
                  <a:lnTo>
                    <a:pt x="52" y="183"/>
                  </a:lnTo>
                  <a:lnTo>
                    <a:pt x="59" y="186"/>
                  </a:lnTo>
                  <a:lnTo>
                    <a:pt x="74" y="191"/>
                  </a:lnTo>
                  <a:lnTo>
                    <a:pt x="82" y="194"/>
                  </a:lnTo>
                  <a:lnTo>
                    <a:pt x="89" y="198"/>
                  </a:lnTo>
                  <a:lnTo>
                    <a:pt x="102" y="205"/>
                  </a:lnTo>
                  <a:lnTo>
                    <a:pt x="115" y="214"/>
                  </a:lnTo>
                  <a:lnTo>
                    <a:pt x="121" y="218"/>
                  </a:lnTo>
                  <a:lnTo>
                    <a:pt x="127" y="223"/>
                  </a:lnTo>
                  <a:lnTo>
                    <a:pt x="133" y="227"/>
                  </a:lnTo>
                  <a:lnTo>
                    <a:pt x="138" y="232"/>
                  </a:lnTo>
                  <a:lnTo>
                    <a:pt x="149" y="241"/>
                  </a:lnTo>
                  <a:lnTo>
                    <a:pt x="167" y="259"/>
                  </a:lnTo>
                  <a:lnTo>
                    <a:pt x="174" y="267"/>
                  </a:lnTo>
                  <a:lnTo>
                    <a:pt x="181" y="275"/>
                  </a:lnTo>
                  <a:lnTo>
                    <a:pt x="190" y="287"/>
                  </a:lnTo>
                  <a:lnTo>
                    <a:pt x="194" y="280"/>
                  </a:lnTo>
                  <a:lnTo>
                    <a:pt x="199" y="273"/>
                  </a:lnTo>
                  <a:lnTo>
                    <a:pt x="204" y="267"/>
                  </a:lnTo>
                  <a:lnTo>
                    <a:pt x="210" y="261"/>
                  </a:lnTo>
                  <a:lnTo>
                    <a:pt x="216" y="256"/>
                  </a:lnTo>
                  <a:lnTo>
                    <a:pt x="222" y="251"/>
                  </a:lnTo>
                  <a:lnTo>
                    <a:pt x="228" y="246"/>
                  </a:lnTo>
                  <a:lnTo>
                    <a:pt x="235" y="242"/>
                  </a:lnTo>
                  <a:lnTo>
                    <a:pt x="242" y="238"/>
                  </a:lnTo>
                  <a:lnTo>
                    <a:pt x="249" y="235"/>
                  </a:lnTo>
                  <a:lnTo>
                    <a:pt x="264" y="230"/>
                  </a:lnTo>
                  <a:lnTo>
                    <a:pt x="272" y="228"/>
                  </a:lnTo>
                  <a:lnTo>
                    <a:pt x="280" y="227"/>
                  </a:lnTo>
                  <a:lnTo>
                    <a:pt x="288" y="226"/>
                  </a:lnTo>
                  <a:lnTo>
                    <a:pt x="296" y="226"/>
                  </a:lnTo>
                  <a:lnTo>
                    <a:pt x="309" y="226"/>
                  </a:lnTo>
                  <a:lnTo>
                    <a:pt x="316" y="227"/>
                  </a:lnTo>
                  <a:lnTo>
                    <a:pt x="322" y="228"/>
                  </a:lnTo>
                  <a:lnTo>
                    <a:pt x="335" y="232"/>
                  </a:lnTo>
                  <a:lnTo>
                    <a:pt x="346" y="236"/>
                  </a:lnTo>
                  <a:lnTo>
                    <a:pt x="358" y="242"/>
                  </a:lnTo>
                  <a:lnTo>
                    <a:pt x="368" y="249"/>
                  </a:lnTo>
                  <a:lnTo>
                    <a:pt x="374" y="253"/>
                  </a:lnTo>
                  <a:lnTo>
                    <a:pt x="378" y="257"/>
                  </a:lnTo>
                  <a:lnTo>
                    <a:pt x="388" y="266"/>
                  </a:lnTo>
                  <a:lnTo>
                    <a:pt x="389" y="268"/>
                  </a:lnTo>
                  <a:lnTo>
                    <a:pt x="390" y="270"/>
                  </a:lnTo>
                  <a:lnTo>
                    <a:pt x="390" y="272"/>
                  </a:lnTo>
                  <a:lnTo>
                    <a:pt x="390" y="274"/>
                  </a:lnTo>
                  <a:lnTo>
                    <a:pt x="390" y="276"/>
                  </a:lnTo>
                  <a:lnTo>
                    <a:pt x="389" y="278"/>
                  </a:lnTo>
                  <a:lnTo>
                    <a:pt x="388" y="280"/>
                  </a:lnTo>
                  <a:lnTo>
                    <a:pt x="387" y="281"/>
                  </a:lnTo>
                  <a:lnTo>
                    <a:pt x="380" y="288"/>
                  </a:lnTo>
                  <a:lnTo>
                    <a:pt x="374" y="295"/>
                  </a:lnTo>
                  <a:lnTo>
                    <a:pt x="368" y="303"/>
                  </a:lnTo>
                  <a:lnTo>
                    <a:pt x="362" y="310"/>
                  </a:lnTo>
                  <a:lnTo>
                    <a:pt x="357" y="318"/>
                  </a:lnTo>
                  <a:lnTo>
                    <a:pt x="353" y="326"/>
                  </a:lnTo>
                  <a:lnTo>
                    <a:pt x="349" y="334"/>
                  </a:lnTo>
                  <a:lnTo>
                    <a:pt x="345" y="342"/>
                  </a:lnTo>
                  <a:lnTo>
                    <a:pt x="342" y="351"/>
                  </a:lnTo>
                  <a:lnTo>
                    <a:pt x="339" y="360"/>
                  </a:lnTo>
                  <a:lnTo>
                    <a:pt x="337" y="368"/>
                  </a:lnTo>
                  <a:lnTo>
                    <a:pt x="335" y="377"/>
                  </a:lnTo>
                  <a:lnTo>
                    <a:pt x="334" y="386"/>
                  </a:lnTo>
                  <a:lnTo>
                    <a:pt x="333" y="395"/>
                  </a:lnTo>
                  <a:lnTo>
                    <a:pt x="333" y="404"/>
                  </a:lnTo>
                  <a:lnTo>
                    <a:pt x="333" y="414"/>
                  </a:lnTo>
                  <a:lnTo>
                    <a:pt x="334" y="422"/>
                  </a:lnTo>
                  <a:lnTo>
                    <a:pt x="335" y="430"/>
                  </a:lnTo>
                  <a:lnTo>
                    <a:pt x="337" y="438"/>
                  </a:lnTo>
                  <a:lnTo>
                    <a:pt x="339" y="446"/>
                  </a:lnTo>
                  <a:lnTo>
                    <a:pt x="342" y="454"/>
                  </a:lnTo>
                  <a:lnTo>
                    <a:pt x="344" y="462"/>
                  </a:lnTo>
                  <a:lnTo>
                    <a:pt x="348" y="470"/>
                  </a:lnTo>
                  <a:lnTo>
                    <a:pt x="351" y="477"/>
                  </a:lnTo>
                  <a:lnTo>
                    <a:pt x="355" y="484"/>
                  </a:lnTo>
                  <a:lnTo>
                    <a:pt x="360" y="491"/>
                  </a:lnTo>
                  <a:lnTo>
                    <a:pt x="369" y="504"/>
                  </a:lnTo>
                  <a:lnTo>
                    <a:pt x="380" y="516"/>
                  </a:lnTo>
                  <a:lnTo>
                    <a:pt x="386" y="522"/>
                  </a:lnTo>
                  <a:lnTo>
                    <a:pt x="392" y="527"/>
                  </a:lnTo>
                  <a:lnTo>
                    <a:pt x="405" y="538"/>
                  </a:lnTo>
                  <a:lnTo>
                    <a:pt x="412" y="542"/>
                  </a:lnTo>
                  <a:lnTo>
                    <a:pt x="419" y="547"/>
                  </a:lnTo>
                  <a:lnTo>
                    <a:pt x="434" y="555"/>
                  </a:lnTo>
                  <a:lnTo>
                    <a:pt x="442" y="558"/>
                  </a:lnTo>
                  <a:lnTo>
                    <a:pt x="450" y="561"/>
                  </a:lnTo>
                  <a:lnTo>
                    <a:pt x="466" y="566"/>
                  </a:lnTo>
                  <a:lnTo>
                    <a:pt x="475" y="569"/>
                  </a:lnTo>
                  <a:lnTo>
                    <a:pt x="484" y="570"/>
                  </a:lnTo>
                  <a:lnTo>
                    <a:pt x="492" y="572"/>
                  </a:lnTo>
                  <a:lnTo>
                    <a:pt x="501" y="573"/>
                  </a:lnTo>
                  <a:lnTo>
                    <a:pt x="519" y="573"/>
                  </a:lnTo>
                  <a:lnTo>
                    <a:pt x="534" y="573"/>
                  </a:lnTo>
                  <a:lnTo>
                    <a:pt x="544" y="572"/>
                  </a:lnTo>
                  <a:lnTo>
                    <a:pt x="553" y="571"/>
                  </a:lnTo>
                  <a:lnTo>
                    <a:pt x="563" y="569"/>
                  </a:lnTo>
                  <a:lnTo>
                    <a:pt x="572" y="567"/>
                  </a:lnTo>
                  <a:lnTo>
                    <a:pt x="581" y="564"/>
                  </a:lnTo>
                  <a:lnTo>
                    <a:pt x="590" y="561"/>
                  </a:lnTo>
                  <a:lnTo>
                    <a:pt x="598" y="558"/>
                  </a:lnTo>
                  <a:lnTo>
                    <a:pt x="607" y="554"/>
                  </a:lnTo>
                  <a:lnTo>
                    <a:pt x="615" y="550"/>
                  </a:lnTo>
                  <a:lnTo>
                    <a:pt x="623" y="546"/>
                  </a:lnTo>
                  <a:lnTo>
                    <a:pt x="630" y="541"/>
                  </a:lnTo>
                  <a:lnTo>
                    <a:pt x="637" y="536"/>
                  </a:lnTo>
                  <a:lnTo>
                    <a:pt x="645" y="531"/>
                  </a:lnTo>
                  <a:lnTo>
                    <a:pt x="651" y="525"/>
                  </a:lnTo>
                  <a:lnTo>
                    <a:pt x="658" y="519"/>
                  </a:lnTo>
                  <a:lnTo>
                    <a:pt x="664" y="513"/>
                  </a:lnTo>
                  <a:lnTo>
                    <a:pt x="670" y="507"/>
                  </a:lnTo>
                  <a:lnTo>
                    <a:pt x="675" y="500"/>
                  </a:lnTo>
                  <a:lnTo>
                    <a:pt x="685" y="486"/>
                  </a:lnTo>
                  <a:lnTo>
                    <a:pt x="690" y="479"/>
                  </a:lnTo>
                  <a:lnTo>
                    <a:pt x="694" y="471"/>
                  </a:lnTo>
                  <a:lnTo>
                    <a:pt x="701" y="455"/>
                  </a:lnTo>
                  <a:lnTo>
                    <a:pt x="703" y="447"/>
                  </a:lnTo>
                  <a:lnTo>
                    <a:pt x="706" y="439"/>
                  </a:lnTo>
                  <a:lnTo>
                    <a:pt x="708" y="430"/>
                  </a:lnTo>
                  <a:lnTo>
                    <a:pt x="709" y="422"/>
                  </a:lnTo>
                  <a:lnTo>
                    <a:pt x="710" y="413"/>
                  </a:lnTo>
                  <a:lnTo>
                    <a:pt x="711" y="405"/>
                  </a:lnTo>
                  <a:lnTo>
                    <a:pt x="711" y="396"/>
                  </a:lnTo>
                  <a:lnTo>
                    <a:pt x="711" y="387"/>
                  </a:lnTo>
                  <a:lnTo>
                    <a:pt x="709" y="375"/>
                  </a:lnTo>
                  <a:lnTo>
                    <a:pt x="707" y="364"/>
                  </a:lnTo>
                  <a:lnTo>
                    <a:pt x="704" y="352"/>
                  </a:lnTo>
                  <a:lnTo>
                    <a:pt x="701" y="341"/>
                  </a:lnTo>
                  <a:lnTo>
                    <a:pt x="696" y="331"/>
                  </a:lnTo>
                  <a:lnTo>
                    <a:pt x="691" y="320"/>
                  </a:lnTo>
                  <a:lnTo>
                    <a:pt x="685" y="310"/>
                  </a:lnTo>
                  <a:lnTo>
                    <a:pt x="678" y="301"/>
                  </a:lnTo>
                  <a:lnTo>
                    <a:pt x="674" y="296"/>
                  </a:lnTo>
                  <a:lnTo>
                    <a:pt x="670" y="292"/>
                  </a:lnTo>
                  <a:lnTo>
                    <a:pt x="662" y="283"/>
                  </a:lnTo>
                  <a:lnTo>
                    <a:pt x="653" y="275"/>
                  </a:lnTo>
                  <a:lnTo>
                    <a:pt x="649" y="271"/>
                  </a:lnTo>
                  <a:lnTo>
                    <a:pt x="644" y="267"/>
                  </a:lnTo>
                  <a:lnTo>
                    <a:pt x="634" y="260"/>
                  </a:lnTo>
                  <a:lnTo>
                    <a:pt x="624" y="254"/>
                  </a:lnTo>
                  <a:lnTo>
                    <a:pt x="612" y="248"/>
                  </a:lnTo>
                  <a:lnTo>
                    <a:pt x="601" y="243"/>
                  </a:lnTo>
                  <a:lnTo>
                    <a:pt x="599" y="242"/>
                  </a:lnTo>
                  <a:lnTo>
                    <a:pt x="597" y="240"/>
                  </a:lnTo>
                  <a:lnTo>
                    <a:pt x="596" y="239"/>
                  </a:lnTo>
                  <a:lnTo>
                    <a:pt x="595" y="237"/>
                  </a:lnTo>
                  <a:lnTo>
                    <a:pt x="594" y="234"/>
                  </a:lnTo>
                  <a:lnTo>
                    <a:pt x="594" y="232"/>
                  </a:lnTo>
                  <a:lnTo>
                    <a:pt x="595" y="230"/>
                  </a:lnTo>
                  <a:lnTo>
                    <a:pt x="595" y="228"/>
                  </a:lnTo>
                  <a:lnTo>
                    <a:pt x="600" y="221"/>
                  </a:lnTo>
                  <a:lnTo>
                    <a:pt x="604" y="214"/>
                  </a:lnTo>
                  <a:lnTo>
                    <a:pt x="610" y="207"/>
                  </a:lnTo>
                  <a:lnTo>
                    <a:pt x="615" y="201"/>
                  </a:lnTo>
                  <a:lnTo>
                    <a:pt x="621" y="196"/>
                  </a:lnTo>
                  <a:lnTo>
                    <a:pt x="627" y="190"/>
                  </a:lnTo>
                  <a:lnTo>
                    <a:pt x="634" y="186"/>
                  </a:lnTo>
                  <a:lnTo>
                    <a:pt x="641" y="181"/>
                  </a:lnTo>
                  <a:lnTo>
                    <a:pt x="648" y="177"/>
                  </a:lnTo>
                  <a:lnTo>
                    <a:pt x="655" y="174"/>
                  </a:lnTo>
                  <a:lnTo>
                    <a:pt x="663" y="171"/>
                  </a:lnTo>
                  <a:lnTo>
                    <a:pt x="670" y="169"/>
                  </a:lnTo>
                  <a:lnTo>
                    <a:pt x="678" y="167"/>
                  </a:lnTo>
                  <a:lnTo>
                    <a:pt x="686" y="165"/>
                  </a:lnTo>
                  <a:lnTo>
                    <a:pt x="695" y="164"/>
                  </a:lnTo>
                  <a:lnTo>
                    <a:pt x="703" y="164"/>
                  </a:lnTo>
                  <a:lnTo>
                    <a:pt x="713" y="165"/>
                  </a:lnTo>
                  <a:lnTo>
                    <a:pt x="722" y="166"/>
                  </a:lnTo>
                  <a:lnTo>
                    <a:pt x="733" y="168"/>
                  </a:lnTo>
                  <a:lnTo>
                    <a:pt x="742" y="170"/>
                  </a:lnTo>
                  <a:lnTo>
                    <a:pt x="751" y="174"/>
                  </a:lnTo>
                  <a:lnTo>
                    <a:pt x="760" y="178"/>
                  </a:lnTo>
                  <a:lnTo>
                    <a:pt x="768" y="182"/>
                  </a:lnTo>
                  <a:lnTo>
                    <a:pt x="776" y="188"/>
                  </a:lnTo>
                  <a:lnTo>
                    <a:pt x="777" y="173"/>
                  </a:lnTo>
                  <a:lnTo>
                    <a:pt x="778" y="163"/>
                  </a:lnTo>
                  <a:lnTo>
                    <a:pt x="779" y="152"/>
                  </a:lnTo>
                  <a:lnTo>
                    <a:pt x="781" y="140"/>
                  </a:lnTo>
                  <a:lnTo>
                    <a:pt x="783" y="127"/>
                  </a:lnTo>
                  <a:lnTo>
                    <a:pt x="786" y="114"/>
                  </a:lnTo>
                  <a:lnTo>
                    <a:pt x="790" y="100"/>
                  </a:lnTo>
                  <a:lnTo>
                    <a:pt x="795" y="86"/>
                  </a:lnTo>
                  <a:lnTo>
                    <a:pt x="798" y="79"/>
                  </a:lnTo>
                  <a:lnTo>
                    <a:pt x="801" y="72"/>
                  </a:lnTo>
                  <a:lnTo>
                    <a:pt x="805" y="66"/>
                  </a:lnTo>
                  <a:lnTo>
                    <a:pt x="808" y="59"/>
                  </a:lnTo>
                  <a:lnTo>
                    <a:pt x="812" y="52"/>
                  </a:lnTo>
                  <a:lnTo>
                    <a:pt x="815" y="49"/>
                  </a:lnTo>
                  <a:lnTo>
                    <a:pt x="817" y="46"/>
                  </a:lnTo>
                  <a:lnTo>
                    <a:pt x="822" y="39"/>
                  </a:lnTo>
                  <a:lnTo>
                    <a:pt x="827" y="33"/>
                  </a:lnTo>
                  <a:lnTo>
                    <a:pt x="832" y="27"/>
                  </a:lnTo>
                  <a:lnTo>
                    <a:pt x="838" y="21"/>
                  </a:lnTo>
                  <a:lnTo>
                    <a:pt x="844" y="16"/>
                  </a:lnTo>
                  <a:lnTo>
                    <a:pt x="851" y="11"/>
                  </a:lnTo>
                  <a:lnTo>
                    <a:pt x="858" y="6"/>
                  </a:lnTo>
                  <a:lnTo>
                    <a:pt x="865" y="1"/>
                  </a:lnTo>
                  <a:lnTo>
                    <a:pt x="868" y="0"/>
                  </a:lnTo>
                  <a:lnTo>
                    <a:pt x="871" y="0"/>
                  </a:lnTo>
                  <a:lnTo>
                    <a:pt x="873" y="0"/>
                  </a:lnTo>
                  <a:lnTo>
                    <a:pt x="876" y="1"/>
                  </a:lnTo>
                  <a:lnTo>
                    <a:pt x="883" y="6"/>
                  </a:lnTo>
                  <a:lnTo>
                    <a:pt x="891" y="11"/>
                  </a:lnTo>
                  <a:lnTo>
                    <a:pt x="897" y="16"/>
                  </a:lnTo>
                  <a:lnTo>
                    <a:pt x="903" y="21"/>
                  </a:lnTo>
                  <a:lnTo>
                    <a:pt x="909" y="27"/>
                  </a:lnTo>
                  <a:lnTo>
                    <a:pt x="915" y="33"/>
                  </a:lnTo>
                  <a:lnTo>
                    <a:pt x="920" y="39"/>
                  </a:lnTo>
                  <a:lnTo>
                    <a:pt x="924" y="46"/>
                  </a:lnTo>
                  <a:lnTo>
                    <a:pt x="933" y="59"/>
                  </a:lnTo>
                  <a:lnTo>
                    <a:pt x="940" y="72"/>
                  </a:lnTo>
                  <a:lnTo>
                    <a:pt x="946" y="86"/>
                  </a:lnTo>
                  <a:lnTo>
                    <a:pt x="951" y="100"/>
                  </a:lnTo>
                  <a:lnTo>
                    <a:pt x="955" y="114"/>
                  </a:lnTo>
                  <a:lnTo>
                    <a:pt x="958" y="127"/>
                  </a:lnTo>
                  <a:lnTo>
                    <a:pt x="961" y="140"/>
                  </a:lnTo>
                  <a:lnTo>
                    <a:pt x="962" y="152"/>
                  </a:lnTo>
                  <a:lnTo>
                    <a:pt x="964" y="173"/>
                  </a:lnTo>
                  <a:lnTo>
                    <a:pt x="965" y="188"/>
                  </a:lnTo>
                  <a:lnTo>
                    <a:pt x="973" y="182"/>
                  </a:lnTo>
                  <a:lnTo>
                    <a:pt x="981" y="178"/>
                  </a:lnTo>
                  <a:lnTo>
                    <a:pt x="990" y="174"/>
                  </a:lnTo>
                  <a:lnTo>
                    <a:pt x="999" y="170"/>
                  </a:lnTo>
                  <a:lnTo>
                    <a:pt x="1008" y="168"/>
                  </a:lnTo>
                  <a:lnTo>
                    <a:pt x="1018" y="166"/>
                  </a:lnTo>
                  <a:lnTo>
                    <a:pt x="1027" y="165"/>
                  </a:lnTo>
                  <a:lnTo>
                    <a:pt x="1037" y="164"/>
                  </a:lnTo>
                  <a:lnTo>
                    <a:pt x="1046" y="164"/>
                  </a:lnTo>
                  <a:lnTo>
                    <a:pt x="1054" y="165"/>
                  </a:lnTo>
                  <a:lnTo>
                    <a:pt x="1058" y="166"/>
                  </a:lnTo>
                  <a:lnTo>
                    <a:pt x="1062" y="167"/>
                  </a:lnTo>
                  <a:lnTo>
                    <a:pt x="1070" y="169"/>
                  </a:lnTo>
                  <a:lnTo>
                    <a:pt x="1078" y="171"/>
                  </a:lnTo>
                  <a:lnTo>
                    <a:pt x="1085" y="174"/>
                  </a:lnTo>
                  <a:lnTo>
                    <a:pt x="1093" y="177"/>
                  </a:lnTo>
                  <a:lnTo>
                    <a:pt x="1100" y="181"/>
                  </a:lnTo>
                  <a:lnTo>
                    <a:pt x="1107" y="186"/>
                  </a:lnTo>
                  <a:lnTo>
                    <a:pt x="1113" y="190"/>
                  </a:lnTo>
                  <a:lnTo>
                    <a:pt x="1119" y="196"/>
                  </a:lnTo>
                  <a:lnTo>
                    <a:pt x="1125" y="201"/>
                  </a:lnTo>
                  <a:lnTo>
                    <a:pt x="1131" y="207"/>
                  </a:lnTo>
                  <a:lnTo>
                    <a:pt x="1136" y="214"/>
                  </a:lnTo>
                  <a:lnTo>
                    <a:pt x="1141" y="221"/>
                  </a:lnTo>
                  <a:lnTo>
                    <a:pt x="1145" y="228"/>
                  </a:lnTo>
                  <a:lnTo>
                    <a:pt x="1146" y="230"/>
                  </a:lnTo>
                  <a:lnTo>
                    <a:pt x="1146" y="232"/>
                  </a:lnTo>
                  <a:lnTo>
                    <a:pt x="1146" y="234"/>
                  </a:lnTo>
                  <a:lnTo>
                    <a:pt x="1146" y="237"/>
                  </a:lnTo>
                  <a:lnTo>
                    <a:pt x="1145" y="239"/>
                  </a:lnTo>
                  <a:lnTo>
                    <a:pt x="1143" y="240"/>
                  </a:lnTo>
                  <a:lnTo>
                    <a:pt x="1141" y="242"/>
                  </a:lnTo>
                  <a:lnTo>
                    <a:pt x="1139" y="243"/>
                  </a:lnTo>
                  <a:lnTo>
                    <a:pt x="1134" y="245"/>
                  </a:lnTo>
                  <a:lnTo>
                    <a:pt x="1128" y="248"/>
                  </a:lnTo>
                  <a:lnTo>
                    <a:pt x="1117" y="254"/>
                  </a:lnTo>
                  <a:lnTo>
                    <a:pt x="1106" y="260"/>
                  </a:lnTo>
                  <a:lnTo>
                    <a:pt x="1096" y="267"/>
                  </a:lnTo>
                  <a:lnTo>
                    <a:pt x="1087" y="275"/>
                  </a:lnTo>
                  <a:lnTo>
                    <a:pt x="1082" y="279"/>
                  </a:lnTo>
                  <a:lnTo>
                    <a:pt x="1078" y="283"/>
                  </a:lnTo>
                  <a:lnTo>
                    <a:pt x="1070" y="292"/>
                  </a:lnTo>
                  <a:lnTo>
                    <a:pt x="1062" y="301"/>
                  </a:lnTo>
                  <a:lnTo>
                    <a:pt x="1056" y="310"/>
                  </a:lnTo>
                  <a:lnTo>
                    <a:pt x="1053" y="315"/>
                  </a:lnTo>
                  <a:lnTo>
                    <a:pt x="1050" y="320"/>
                  </a:lnTo>
                  <a:lnTo>
                    <a:pt x="1044" y="331"/>
                  </a:lnTo>
                  <a:lnTo>
                    <a:pt x="1042" y="336"/>
                  </a:lnTo>
                  <a:lnTo>
                    <a:pt x="1040" y="341"/>
                  </a:lnTo>
                  <a:lnTo>
                    <a:pt x="1038" y="347"/>
                  </a:lnTo>
                  <a:lnTo>
                    <a:pt x="1036" y="352"/>
                  </a:lnTo>
                  <a:lnTo>
                    <a:pt x="1033" y="364"/>
                  </a:lnTo>
                  <a:lnTo>
                    <a:pt x="1031" y="375"/>
                  </a:lnTo>
                  <a:lnTo>
                    <a:pt x="1030" y="387"/>
                  </a:lnTo>
                  <a:lnTo>
                    <a:pt x="1029" y="396"/>
                  </a:lnTo>
                  <a:lnTo>
                    <a:pt x="1029" y="405"/>
                  </a:lnTo>
                  <a:lnTo>
                    <a:pt x="1030" y="413"/>
                  </a:lnTo>
                  <a:lnTo>
                    <a:pt x="1031" y="422"/>
                  </a:lnTo>
                  <a:lnTo>
                    <a:pt x="1032" y="430"/>
                  </a:lnTo>
                  <a:lnTo>
                    <a:pt x="1034" y="439"/>
                  </a:lnTo>
                  <a:lnTo>
                    <a:pt x="1037" y="447"/>
                  </a:lnTo>
                  <a:lnTo>
                    <a:pt x="1040" y="455"/>
                  </a:lnTo>
                  <a:lnTo>
                    <a:pt x="1043" y="464"/>
                  </a:lnTo>
                  <a:lnTo>
                    <a:pt x="1047" y="471"/>
                  </a:lnTo>
                  <a:lnTo>
                    <a:pt x="1051" y="479"/>
                  </a:lnTo>
                  <a:lnTo>
                    <a:pt x="1055" y="486"/>
                  </a:lnTo>
                  <a:lnTo>
                    <a:pt x="1060" y="493"/>
                  </a:lnTo>
                  <a:lnTo>
                    <a:pt x="1065" y="500"/>
                  </a:lnTo>
                  <a:lnTo>
                    <a:pt x="1070" y="507"/>
                  </a:lnTo>
                  <a:lnTo>
                    <a:pt x="1076" y="513"/>
                  </a:lnTo>
                  <a:lnTo>
                    <a:pt x="1082" y="519"/>
                  </a:lnTo>
                  <a:lnTo>
                    <a:pt x="1089" y="525"/>
                  </a:lnTo>
                  <a:lnTo>
                    <a:pt x="1103" y="536"/>
                  </a:lnTo>
                  <a:lnTo>
                    <a:pt x="1110" y="541"/>
                  </a:lnTo>
                  <a:lnTo>
                    <a:pt x="1118" y="546"/>
                  </a:lnTo>
                  <a:lnTo>
                    <a:pt x="1134" y="554"/>
                  </a:lnTo>
                  <a:lnTo>
                    <a:pt x="1142" y="558"/>
                  </a:lnTo>
                  <a:lnTo>
                    <a:pt x="1151" y="561"/>
                  </a:lnTo>
                  <a:lnTo>
                    <a:pt x="1159" y="564"/>
                  </a:lnTo>
                  <a:lnTo>
                    <a:pt x="1168" y="567"/>
                  </a:lnTo>
                  <a:lnTo>
                    <a:pt x="1178" y="569"/>
                  </a:lnTo>
                  <a:lnTo>
                    <a:pt x="1187" y="571"/>
                  </a:lnTo>
                  <a:lnTo>
                    <a:pt x="1196" y="572"/>
                  </a:lnTo>
                  <a:lnTo>
                    <a:pt x="1206" y="573"/>
                  </a:lnTo>
                  <a:lnTo>
                    <a:pt x="1221" y="573"/>
                  </a:lnTo>
                  <a:lnTo>
                    <a:pt x="1239" y="573"/>
                  </a:lnTo>
                  <a:lnTo>
                    <a:pt x="1248" y="572"/>
                  </a:lnTo>
                  <a:lnTo>
                    <a:pt x="1257" y="570"/>
                  </a:lnTo>
                  <a:lnTo>
                    <a:pt x="1274" y="566"/>
                  </a:lnTo>
                  <a:lnTo>
                    <a:pt x="1290" y="561"/>
                  </a:lnTo>
                  <a:lnTo>
                    <a:pt x="1306" y="555"/>
                  </a:lnTo>
                  <a:lnTo>
                    <a:pt x="1314" y="551"/>
                  </a:lnTo>
                  <a:lnTo>
                    <a:pt x="1321" y="547"/>
                  </a:lnTo>
                  <a:lnTo>
                    <a:pt x="1328" y="542"/>
                  </a:lnTo>
                  <a:lnTo>
                    <a:pt x="1335" y="538"/>
                  </a:lnTo>
                  <a:lnTo>
                    <a:pt x="1342" y="533"/>
                  </a:lnTo>
                  <a:lnTo>
                    <a:pt x="1348" y="527"/>
                  </a:lnTo>
                  <a:lnTo>
                    <a:pt x="1354" y="522"/>
                  </a:lnTo>
                  <a:lnTo>
                    <a:pt x="1360" y="516"/>
                  </a:lnTo>
                  <a:lnTo>
                    <a:pt x="1366" y="510"/>
                  </a:lnTo>
                  <a:lnTo>
                    <a:pt x="1371" y="504"/>
                  </a:lnTo>
                  <a:lnTo>
                    <a:pt x="1376" y="498"/>
                  </a:lnTo>
                  <a:lnTo>
                    <a:pt x="1381" y="491"/>
                  </a:lnTo>
                  <a:lnTo>
                    <a:pt x="1385" y="484"/>
                  </a:lnTo>
                  <a:lnTo>
                    <a:pt x="1389" y="477"/>
                  </a:lnTo>
                  <a:lnTo>
                    <a:pt x="1393" y="470"/>
                  </a:lnTo>
                  <a:lnTo>
                    <a:pt x="1396" y="462"/>
                  </a:lnTo>
                  <a:lnTo>
                    <a:pt x="1401" y="446"/>
                  </a:lnTo>
                  <a:lnTo>
                    <a:pt x="1403" y="438"/>
                  </a:lnTo>
                  <a:lnTo>
                    <a:pt x="1405" y="430"/>
                  </a:lnTo>
                  <a:lnTo>
                    <a:pt x="1406" y="422"/>
                  </a:lnTo>
                  <a:lnTo>
                    <a:pt x="1407" y="414"/>
                  </a:lnTo>
                  <a:lnTo>
                    <a:pt x="1407" y="404"/>
                  </a:lnTo>
                  <a:lnTo>
                    <a:pt x="1407" y="395"/>
                  </a:lnTo>
                  <a:lnTo>
                    <a:pt x="1406" y="386"/>
                  </a:lnTo>
                  <a:lnTo>
                    <a:pt x="1405" y="377"/>
                  </a:lnTo>
                  <a:lnTo>
                    <a:pt x="1404" y="368"/>
                  </a:lnTo>
                  <a:lnTo>
                    <a:pt x="1401" y="360"/>
                  </a:lnTo>
                  <a:lnTo>
                    <a:pt x="1399" y="351"/>
                  </a:lnTo>
                  <a:lnTo>
                    <a:pt x="1395" y="342"/>
                  </a:lnTo>
                  <a:lnTo>
                    <a:pt x="1392" y="334"/>
                  </a:lnTo>
                  <a:lnTo>
                    <a:pt x="1388" y="326"/>
                  </a:lnTo>
                  <a:lnTo>
                    <a:pt x="1383" y="318"/>
                  </a:lnTo>
                  <a:lnTo>
                    <a:pt x="1378" y="310"/>
                  </a:lnTo>
                  <a:lnTo>
                    <a:pt x="1372" y="303"/>
                  </a:lnTo>
                  <a:lnTo>
                    <a:pt x="1366" y="295"/>
                  </a:lnTo>
                  <a:lnTo>
                    <a:pt x="1360" y="288"/>
                  </a:lnTo>
                  <a:lnTo>
                    <a:pt x="1353" y="281"/>
                  </a:lnTo>
                  <a:lnTo>
                    <a:pt x="1352" y="280"/>
                  </a:lnTo>
                  <a:lnTo>
                    <a:pt x="1351" y="278"/>
                  </a:lnTo>
                  <a:lnTo>
                    <a:pt x="1350" y="276"/>
                  </a:lnTo>
                  <a:lnTo>
                    <a:pt x="1350" y="274"/>
                  </a:lnTo>
                  <a:lnTo>
                    <a:pt x="1350" y="270"/>
                  </a:lnTo>
                  <a:lnTo>
                    <a:pt x="1353" y="266"/>
                  </a:lnTo>
                  <a:lnTo>
                    <a:pt x="1357" y="262"/>
                  </a:lnTo>
                  <a:lnTo>
                    <a:pt x="1362" y="257"/>
                  </a:lnTo>
                  <a:lnTo>
                    <a:pt x="1367" y="253"/>
                  </a:lnTo>
                  <a:lnTo>
                    <a:pt x="1372" y="249"/>
                  </a:lnTo>
                  <a:lnTo>
                    <a:pt x="1383" y="242"/>
                  </a:lnTo>
                  <a:lnTo>
                    <a:pt x="1388" y="239"/>
                  </a:lnTo>
                  <a:lnTo>
                    <a:pt x="1394" y="236"/>
                  </a:lnTo>
                  <a:lnTo>
                    <a:pt x="1400" y="234"/>
                  </a:lnTo>
                  <a:lnTo>
                    <a:pt x="1406" y="232"/>
                  </a:lnTo>
                  <a:lnTo>
                    <a:pt x="1412" y="230"/>
                  </a:lnTo>
                  <a:lnTo>
                    <a:pt x="1418" y="228"/>
                  </a:lnTo>
                  <a:lnTo>
                    <a:pt x="1424" y="227"/>
                  </a:lnTo>
                  <a:lnTo>
                    <a:pt x="1431" y="226"/>
                  </a:lnTo>
                  <a:lnTo>
                    <a:pt x="1444" y="226"/>
                  </a:lnTo>
                  <a:lnTo>
                    <a:pt x="1452" y="226"/>
                  </a:lnTo>
                  <a:lnTo>
                    <a:pt x="1460" y="227"/>
                  </a:lnTo>
                  <a:lnTo>
                    <a:pt x="1468" y="228"/>
                  </a:lnTo>
                  <a:lnTo>
                    <a:pt x="1476" y="230"/>
                  </a:lnTo>
                  <a:lnTo>
                    <a:pt x="1483" y="232"/>
                  </a:lnTo>
                  <a:lnTo>
                    <a:pt x="1491" y="235"/>
                  </a:lnTo>
                  <a:lnTo>
                    <a:pt x="1498" y="238"/>
                  </a:lnTo>
                  <a:lnTo>
                    <a:pt x="1505" y="242"/>
                  </a:lnTo>
                  <a:lnTo>
                    <a:pt x="1512" y="246"/>
                  </a:lnTo>
                  <a:lnTo>
                    <a:pt x="1518" y="251"/>
                  </a:lnTo>
                  <a:lnTo>
                    <a:pt x="1525" y="256"/>
                  </a:lnTo>
                  <a:lnTo>
                    <a:pt x="1530" y="261"/>
                  </a:lnTo>
                  <a:lnTo>
                    <a:pt x="1536" y="267"/>
                  </a:lnTo>
                  <a:lnTo>
                    <a:pt x="1541" y="273"/>
                  </a:lnTo>
                  <a:lnTo>
                    <a:pt x="1546" y="280"/>
                  </a:lnTo>
                  <a:lnTo>
                    <a:pt x="1550" y="287"/>
                  </a:lnTo>
                  <a:lnTo>
                    <a:pt x="1560" y="275"/>
                  </a:lnTo>
                  <a:lnTo>
                    <a:pt x="1574" y="259"/>
                  </a:lnTo>
                  <a:lnTo>
                    <a:pt x="1582" y="250"/>
                  </a:lnTo>
                  <a:lnTo>
                    <a:pt x="1591" y="241"/>
                  </a:lnTo>
                  <a:lnTo>
                    <a:pt x="1602" y="232"/>
                  </a:lnTo>
                  <a:lnTo>
                    <a:pt x="1613" y="223"/>
                  </a:lnTo>
                  <a:lnTo>
                    <a:pt x="1625" y="214"/>
                  </a:lnTo>
                  <a:lnTo>
                    <a:pt x="1638" y="205"/>
                  </a:lnTo>
                  <a:lnTo>
                    <a:pt x="1651" y="198"/>
                  </a:lnTo>
                  <a:lnTo>
                    <a:pt x="1666" y="191"/>
                  </a:lnTo>
                  <a:lnTo>
                    <a:pt x="1673" y="188"/>
                  </a:lnTo>
                  <a:lnTo>
                    <a:pt x="1681" y="186"/>
                  </a:lnTo>
                  <a:lnTo>
                    <a:pt x="1688" y="183"/>
                  </a:lnTo>
                  <a:lnTo>
                    <a:pt x="1696" y="181"/>
                  </a:lnTo>
                  <a:lnTo>
                    <a:pt x="1704" y="180"/>
                  </a:lnTo>
                  <a:lnTo>
                    <a:pt x="1712" y="179"/>
                  </a:lnTo>
                  <a:lnTo>
                    <a:pt x="1720" y="178"/>
                  </a:lnTo>
                  <a:lnTo>
                    <a:pt x="1729" y="178"/>
                  </a:lnTo>
                  <a:close/>
                  <a:moveTo>
                    <a:pt x="1450" y="807"/>
                  </a:moveTo>
                  <a:lnTo>
                    <a:pt x="1453" y="807"/>
                  </a:lnTo>
                  <a:lnTo>
                    <a:pt x="1455" y="808"/>
                  </a:lnTo>
                  <a:lnTo>
                    <a:pt x="1457" y="810"/>
                  </a:lnTo>
                  <a:lnTo>
                    <a:pt x="1458" y="812"/>
                  </a:lnTo>
                  <a:lnTo>
                    <a:pt x="1459" y="814"/>
                  </a:lnTo>
                  <a:lnTo>
                    <a:pt x="1460" y="816"/>
                  </a:lnTo>
                  <a:lnTo>
                    <a:pt x="1460" y="819"/>
                  </a:lnTo>
                  <a:lnTo>
                    <a:pt x="1459" y="821"/>
                  </a:lnTo>
                  <a:lnTo>
                    <a:pt x="1439" y="885"/>
                  </a:lnTo>
                  <a:lnTo>
                    <a:pt x="1438" y="886"/>
                  </a:lnTo>
                  <a:lnTo>
                    <a:pt x="1437" y="888"/>
                  </a:lnTo>
                  <a:lnTo>
                    <a:pt x="1435" y="890"/>
                  </a:lnTo>
                  <a:lnTo>
                    <a:pt x="1432" y="892"/>
                  </a:lnTo>
                  <a:lnTo>
                    <a:pt x="1428" y="892"/>
                  </a:lnTo>
                  <a:lnTo>
                    <a:pt x="1374" y="887"/>
                  </a:lnTo>
                  <a:lnTo>
                    <a:pt x="1313" y="881"/>
                  </a:lnTo>
                  <a:lnTo>
                    <a:pt x="1245" y="876"/>
                  </a:lnTo>
                  <a:lnTo>
                    <a:pt x="1174" y="871"/>
                  </a:lnTo>
                  <a:lnTo>
                    <a:pt x="1099" y="867"/>
                  </a:lnTo>
                  <a:lnTo>
                    <a:pt x="1023" y="863"/>
                  </a:lnTo>
                  <a:lnTo>
                    <a:pt x="984" y="862"/>
                  </a:lnTo>
                  <a:lnTo>
                    <a:pt x="946" y="861"/>
                  </a:lnTo>
                  <a:lnTo>
                    <a:pt x="871" y="861"/>
                  </a:lnTo>
                  <a:lnTo>
                    <a:pt x="795" y="861"/>
                  </a:lnTo>
                  <a:lnTo>
                    <a:pt x="718" y="863"/>
                  </a:lnTo>
                  <a:lnTo>
                    <a:pt x="641" y="867"/>
                  </a:lnTo>
                  <a:lnTo>
                    <a:pt x="567" y="871"/>
                  </a:lnTo>
                  <a:lnTo>
                    <a:pt x="495" y="876"/>
                  </a:lnTo>
                  <a:lnTo>
                    <a:pt x="428" y="881"/>
                  </a:lnTo>
                  <a:lnTo>
                    <a:pt x="367" y="887"/>
                  </a:lnTo>
                  <a:lnTo>
                    <a:pt x="313" y="892"/>
                  </a:lnTo>
                  <a:lnTo>
                    <a:pt x="309" y="892"/>
                  </a:lnTo>
                  <a:lnTo>
                    <a:pt x="307" y="891"/>
                  </a:lnTo>
                  <a:lnTo>
                    <a:pt x="306" y="890"/>
                  </a:lnTo>
                  <a:lnTo>
                    <a:pt x="303" y="888"/>
                  </a:lnTo>
                  <a:lnTo>
                    <a:pt x="302" y="885"/>
                  </a:lnTo>
                  <a:lnTo>
                    <a:pt x="292" y="854"/>
                  </a:lnTo>
                  <a:lnTo>
                    <a:pt x="281" y="821"/>
                  </a:lnTo>
                  <a:lnTo>
                    <a:pt x="280" y="819"/>
                  </a:lnTo>
                  <a:lnTo>
                    <a:pt x="280" y="816"/>
                  </a:lnTo>
                  <a:lnTo>
                    <a:pt x="282" y="812"/>
                  </a:lnTo>
                  <a:lnTo>
                    <a:pt x="283" y="810"/>
                  </a:lnTo>
                  <a:lnTo>
                    <a:pt x="285" y="808"/>
                  </a:lnTo>
                  <a:lnTo>
                    <a:pt x="287" y="807"/>
                  </a:lnTo>
                  <a:lnTo>
                    <a:pt x="290" y="807"/>
                  </a:lnTo>
                  <a:lnTo>
                    <a:pt x="292" y="806"/>
                  </a:lnTo>
                  <a:lnTo>
                    <a:pt x="335" y="802"/>
                  </a:lnTo>
                  <a:lnTo>
                    <a:pt x="391" y="796"/>
                  </a:lnTo>
                  <a:lnTo>
                    <a:pt x="457" y="790"/>
                  </a:lnTo>
                  <a:lnTo>
                    <a:pt x="531" y="785"/>
                  </a:lnTo>
                  <a:lnTo>
                    <a:pt x="611" y="780"/>
                  </a:lnTo>
                  <a:lnTo>
                    <a:pt x="653" y="778"/>
                  </a:lnTo>
                  <a:lnTo>
                    <a:pt x="696" y="776"/>
                  </a:lnTo>
                  <a:lnTo>
                    <a:pt x="740" y="774"/>
                  </a:lnTo>
                  <a:lnTo>
                    <a:pt x="783" y="773"/>
                  </a:lnTo>
                  <a:lnTo>
                    <a:pt x="827" y="772"/>
                  </a:lnTo>
                  <a:lnTo>
                    <a:pt x="871" y="772"/>
                  </a:lnTo>
                  <a:lnTo>
                    <a:pt x="914" y="772"/>
                  </a:lnTo>
                  <a:lnTo>
                    <a:pt x="958" y="773"/>
                  </a:lnTo>
                  <a:lnTo>
                    <a:pt x="1001" y="774"/>
                  </a:lnTo>
                  <a:lnTo>
                    <a:pt x="1045" y="776"/>
                  </a:lnTo>
                  <a:lnTo>
                    <a:pt x="1129" y="780"/>
                  </a:lnTo>
                  <a:lnTo>
                    <a:pt x="1209" y="785"/>
                  </a:lnTo>
                  <a:lnTo>
                    <a:pt x="1283" y="790"/>
                  </a:lnTo>
                  <a:lnTo>
                    <a:pt x="1349" y="796"/>
                  </a:lnTo>
                  <a:lnTo>
                    <a:pt x="1405" y="802"/>
                  </a:lnTo>
                  <a:lnTo>
                    <a:pt x="1449" y="806"/>
                  </a:lnTo>
                  <a:lnTo>
                    <a:pt x="1450" y="8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7"/>
            <p:cNvSpPr>
              <a:spLocks noEditPoints="1"/>
            </p:cNvSpPr>
            <p:nvPr userDrawn="1"/>
          </p:nvSpPr>
          <p:spPr bwMode="auto">
            <a:xfrm>
              <a:off x="4287838" y="2951163"/>
              <a:ext cx="6440488" cy="1217612"/>
            </a:xfrm>
            <a:custGeom>
              <a:avLst/>
              <a:gdLst>
                <a:gd name="T0" fmla="*/ 3533 w 4057"/>
                <a:gd name="T1" fmla="*/ 11 h 767"/>
                <a:gd name="T2" fmla="*/ 3620 w 4057"/>
                <a:gd name="T3" fmla="*/ 37 h 767"/>
                <a:gd name="T4" fmla="*/ 4033 w 4057"/>
                <a:gd name="T5" fmla="*/ 15 h 767"/>
                <a:gd name="T6" fmla="*/ 4055 w 4057"/>
                <a:gd name="T7" fmla="*/ 724 h 767"/>
                <a:gd name="T8" fmla="*/ 4042 w 4057"/>
                <a:gd name="T9" fmla="*/ 755 h 767"/>
                <a:gd name="T10" fmla="*/ 3620 w 4057"/>
                <a:gd name="T11" fmla="*/ 736 h 767"/>
                <a:gd name="T12" fmla="*/ 3528 w 4057"/>
                <a:gd name="T13" fmla="*/ 756 h 767"/>
                <a:gd name="T14" fmla="*/ 330 w 4057"/>
                <a:gd name="T15" fmla="*/ 10 h 767"/>
                <a:gd name="T16" fmla="*/ 367 w 4057"/>
                <a:gd name="T17" fmla="*/ 4 h 767"/>
                <a:gd name="T18" fmla="*/ 693 w 4057"/>
                <a:gd name="T19" fmla="*/ 754 h 767"/>
                <a:gd name="T20" fmla="*/ 593 w 4057"/>
                <a:gd name="T21" fmla="*/ 744 h 767"/>
                <a:gd name="T22" fmla="*/ 21 w 4057"/>
                <a:gd name="T23" fmla="*/ 757 h 767"/>
                <a:gd name="T24" fmla="*/ 2 w 4057"/>
                <a:gd name="T25" fmla="*/ 729 h 767"/>
                <a:gd name="T26" fmla="*/ 827 w 4057"/>
                <a:gd name="T27" fmla="*/ 13 h 767"/>
                <a:gd name="T28" fmla="*/ 1180 w 4057"/>
                <a:gd name="T29" fmla="*/ 34 h 767"/>
                <a:gd name="T30" fmla="*/ 1281 w 4057"/>
                <a:gd name="T31" fmla="*/ 125 h 767"/>
                <a:gd name="T32" fmla="*/ 1315 w 4057"/>
                <a:gd name="T33" fmla="*/ 258 h 767"/>
                <a:gd name="T34" fmla="*/ 1268 w 4057"/>
                <a:gd name="T35" fmla="*/ 390 h 767"/>
                <a:gd name="T36" fmla="*/ 1159 w 4057"/>
                <a:gd name="T37" fmla="*/ 472 h 767"/>
                <a:gd name="T38" fmla="*/ 920 w 4057"/>
                <a:gd name="T39" fmla="*/ 747 h 767"/>
                <a:gd name="T40" fmla="*/ 816 w 4057"/>
                <a:gd name="T41" fmla="*/ 744 h 767"/>
                <a:gd name="T42" fmla="*/ 1135 w 4057"/>
                <a:gd name="T43" fmla="*/ 366 h 767"/>
                <a:gd name="T44" fmla="*/ 1203 w 4057"/>
                <a:gd name="T45" fmla="*/ 273 h 767"/>
                <a:gd name="T46" fmla="*/ 1189 w 4057"/>
                <a:gd name="T47" fmla="*/ 183 h 767"/>
                <a:gd name="T48" fmla="*/ 1098 w 4057"/>
                <a:gd name="T49" fmla="*/ 120 h 767"/>
                <a:gd name="T50" fmla="*/ 1899 w 4057"/>
                <a:gd name="T51" fmla="*/ 15 h 767"/>
                <a:gd name="T52" fmla="*/ 2058 w 4057"/>
                <a:gd name="T53" fmla="*/ 106 h 767"/>
                <a:gd name="T54" fmla="*/ 2153 w 4057"/>
                <a:gd name="T55" fmla="*/ 252 h 767"/>
                <a:gd name="T56" fmla="*/ 2169 w 4057"/>
                <a:gd name="T57" fmla="*/ 463 h 767"/>
                <a:gd name="T58" fmla="*/ 2089 w 4057"/>
                <a:gd name="T59" fmla="*/ 629 h 767"/>
                <a:gd name="T60" fmla="*/ 1960 w 4057"/>
                <a:gd name="T61" fmla="*/ 730 h 767"/>
                <a:gd name="T62" fmla="*/ 1773 w 4057"/>
                <a:gd name="T63" fmla="*/ 767 h 767"/>
                <a:gd name="T64" fmla="*/ 1578 w 4057"/>
                <a:gd name="T65" fmla="*/ 702 h 767"/>
                <a:gd name="T66" fmla="*/ 1466 w 4057"/>
                <a:gd name="T67" fmla="*/ 584 h 767"/>
                <a:gd name="T68" fmla="*/ 1411 w 4057"/>
                <a:gd name="T69" fmla="*/ 405 h 767"/>
                <a:gd name="T70" fmla="*/ 1448 w 4057"/>
                <a:gd name="T71" fmla="*/ 218 h 767"/>
                <a:gd name="T72" fmla="*/ 1563 w 4057"/>
                <a:gd name="T73" fmla="*/ 76 h 767"/>
                <a:gd name="T74" fmla="*/ 1725 w 4057"/>
                <a:gd name="T75" fmla="*/ 6 h 767"/>
                <a:gd name="T76" fmla="*/ 1888 w 4057"/>
                <a:gd name="T77" fmla="*/ 644 h 767"/>
                <a:gd name="T78" fmla="*/ 2007 w 4057"/>
                <a:gd name="T79" fmla="*/ 561 h 767"/>
                <a:gd name="T80" fmla="*/ 2069 w 4057"/>
                <a:gd name="T81" fmla="*/ 413 h 767"/>
                <a:gd name="T82" fmla="*/ 2037 w 4057"/>
                <a:gd name="T83" fmla="*/ 253 h 767"/>
                <a:gd name="T84" fmla="*/ 1925 w 4057"/>
                <a:gd name="T85" fmla="*/ 141 h 767"/>
                <a:gd name="T86" fmla="*/ 1765 w 4057"/>
                <a:gd name="T87" fmla="*/ 108 h 767"/>
                <a:gd name="T88" fmla="*/ 1618 w 4057"/>
                <a:gd name="T89" fmla="*/ 171 h 767"/>
                <a:gd name="T90" fmla="*/ 1530 w 4057"/>
                <a:gd name="T91" fmla="*/ 304 h 767"/>
                <a:gd name="T92" fmla="*/ 1530 w 4057"/>
                <a:gd name="T93" fmla="*/ 467 h 767"/>
                <a:gd name="T94" fmla="*/ 1618 w 4057"/>
                <a:gd name="T95" fmla="*/ 598 h 767"/>
                <a:gd name="T96" fmla="*/ 1765 w 4057"/>
                <a:gd name="T97" fmla="*/ 659 h 767"/>
                <a:gd name="T98" fmla="*/ 2214 w 4057"/>
                <a:gd name="T99" fmla="*/ 91 h 767"/>
                <a:gd name="T100" fmla="*/ 2736 w 4057"/>
                <a:gd name="T101" fmla="*/ 13 h 767"/>
                <a:gd name="T102" fmla="*/ 2739 w 4057"/>
                <a:gd name="T103" fmla="*/ 107 h 767"/>
                <a:gd name="T104" fmla="*/ 2520 w 4057"/>
                <a:gd name="T105" fmla="*/ 756 h 767"/>
                <a:gd name="T106" fmla="*/ 2885 w 4057"/>
                <a:gd name="T107" fmla="*/ 31 h 767"/>
                <a:gd name="T108" fmla="*/ 3343 w 4057"/>
                <a:gd name="T109" fmla="*/ 15 h 767"/>
                <a:gd name="T110" fmla="*/ 3340 w 4057"/>
                <a:gd name="T111" fmla="*/ 109 h 767"/>
                <a:gd name="T112" fmla="*/ 3298 w 4057"/>
                <a:gd name="T113" fmla="*/ 345 h 767"/>
                <a:gd name="T114" fmla="*/ 2994 w 4057"/>
                <a:gd name="T115" fmla="*/ 658 h 767"/>
                <a:gd name="T116" fmla="*/ 3350 w 4057"/>
                <a:gd name="T117" fmla="*/ 744 h 767"/>
                <a:gd name="T118" fmla="*/ 2888 w 4057"/>
                <a:gd name="T119" fmla="*/ 747 h 7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057" h="767">
                  <a:moveTo>
                    <a:pt x="3508" y="37"/>
                  </a:moveTo>
                  <a:lnTo>
                    <a:pt x="3508" y="31"/>
                  </a:lnTo>
                  <a:lnTo>
                    <a:pt x="3509" y="29"/>
                  </a:lnTo>
                  <a:lnTo>
                    <a:pt x="3509" y="27"/>
                  </a:lnTo>
                  <a:lnTo>
                    <a:pt x="3510" y="25"/>
                  </a:lnTo>
                  <a:lnTo>
                    <a:pt x="3512" y="22"/>
                  </a:lnTo>
                  <a:lnTo>
                    <a:pt x="3515" y="19"/>
                  </a:lnTo>
                  <a:lnTo>
                    <a:pt x="3518" y="15"/>
                  </a:lnTo>
                  <a:lnTo>
                    <a:pt x="3523" y="13"/>
                  </a:lnTo>
                  <a:lnTo>
                    <a:pt x="3525" y="12"/>
                  </a:lnTo>
                  <a:lnTo>
                    <a:pt x="3528" y="12"/>
                  </a:lnTo>
                  <a:lnTo>
                    <a:pt x="3533" y="11"/>
                  </a:lnTo>
                  <a:lnTo>
                    <a:pt x="3595" y="11"/>
                  </a:lnTo>
                  <a:lnTo>
                    <a:pt x="3600" y="12"/>
                  </a:lnTo>
                  <a:lnTo>
                    <a:pt x="3602" y="12"/>
                  </a:lnTo>
                  <a:lnTo>
                    <a:pt x="3605" y="13"/>
                  </a:lnTo>
                  <a:lnTo>
                    <a:pt x="3609" y="15"/>
                  </a:lnTo>
                  <a:lnTo>
                    <a:pt x="3611" y="17"/>
                  </a:lnTo>
                  <a:lnTo>
                    <a:pt x="3613" y="19"/>
                  </a:lnTo>
                  <a:lnTo>
                    <a:pt x="3616" y="22"/>
                  </a:lnTo>
                  <a:lnTo>
                    <a:pt x="3618" y="27"/>
                  </a:lnTo>
                  <a:lnTo>
                    <a:pt x="3619" y="29"/>
                  </a:lnTo>
                  <a:lnTo>
                    <a:pt x="3620" y="31"/>
                  </a:lnTo>
                  <a:lnTo>
                    <a:pt x="3620" y="37"/>
                  </a:lnTo>
                  <a:lnTo>
                    <a:pt x="3620" y="332"/>
                  </a:lnTo>
                  <a:lnTo>
                    <a:pt x="3920" y="22"/>
                  </a:lnTo>
                  <a:lnTo>
                    <a:pt x="3924" y="18"/>
                  </a:lnTo>
                  <a:lnTo>
                    <a:pt x="3929" y="14"/>
                  </a:lnTo>
                  <a:lnTo>
                    <a:pt x="3934" y="12"/>
                  </a:lnTo>
                  <a:lnTo>
                    <a:pt x="3937" y="11"/>
                  </a:lnTo>
                  <a:lnTo>
                    <a:pt x="3940" y="11"/>
                  </a:lnTo>
                  <a:lnTo>
                    <a:pt x="4020" y="11"/>
                  </a:lnTo>
                  <a:lnTo>
                    <a:pt x="4024" y="11"/>
                  </a:lnTo>
                  <a:lnTo>
                    <a:pt x="4027" y="12"/>
                  </a:lnTo>
                  <a:lnTo>
                    <a:pt x="4030" y="13"/>
                  </a:lnTo>
                  <a:lnTo>
                    <a:pt x="4033" y="15"/>
                  </a:lnTo>
                  <a:lnTo>
                    <a:pt x="4035" y="17"/>
                  </a:lnTo>
                  <a:lnTo>
                    <a:pt x="4037" y="19"/>
                  </a:lnTo>
                  <a:lnTo>
                    <a:pt x="4040" y="24"/>
                  </a:lnTo>
                  <a:lnTo>
                    <a:pt x="4042" y="30"/>
                  </a:lnTo>
                  <a:lnTo>
                    <a:pt x="4042" y="33"/>
                  </a:lnTo>
                  <a:lnTo>
                    <a:pt x="4042" y="37"/>
                  </a:lnTo>
                  <a:lnTo>
                    <a:pt x="4039" y="43"/>
                  </a:lnTo>
                  <a:lnTo>
                    <a:pt x="4038" y="46"/>
                  </a:lnTo>
                  <a:lnTo>
                    <a:pt x="4035" y="49"/>
                  </a:lnTo>
                  <a:lnTo>
                    <a:pt x="3728" y="363"/>
                  </a:lnTo>
                  <a:lnTo>
                    <a:pt x="4053" y="721"/>
                  </a:lnTo>
                  <a:lnTo>
                    <a:pt x="4055" y="724"/>
                  </a:lnTo>
                  <a:lnTo>
                    <a:pt x="4056" y="726"/>
                  </a:lnTo>
                  <a:lnTo>
                    <a:pt x="4057" y="731"/>
                  </a:lnTo>
                  <a:lnTo>
                    <a:pt x="4057" y="734"/>
                  </a:lnTo>
                  <a:lnTo>
                    <a:pt x="4057" y="737"/>
                  </a:lnTo>
                  <a:lnTo>
                    <a:pt x="4056" y="740"/>
                  </a:lnTo>
                  <a:lnTo>
                    <a:pt x="4055" y="743"/>
                  </a:lnTo>
                  <a:lnTo>
                    <a:pt x="4054" y="746"/>
                  </a:lnTo>
                  <a:lnTo>
                    <a:pt x="4052" y="748"/>
                  </a:lnTo>
                  <a:lnTo>
                    <a:pt x="4050" y="750"/>
                  </a:lnTo>
                  <a:lnTo>
                    <a:pt x="4048" y="752"/>
                  </a:lnTo>
                  <a:lnTo>
                    <a:pt x="4045" y="754"/>
                  </a:lnTo>
                  <a:lnTo>
                    <a:pt x="4042" y="755"/>
                  </a:lnTo>
                  <a:lnTo>
                    <a:pt x="4038" y="756"/>
                  </a:lnTo>
                  <a:lnTo>
                    <a:pt x="4034" y="756"/>
                  </a:lnTo>
                  <a:lnTo>
                    <a:pt x="3949" y="756"/>
                  </a:lnTo>
                  <a:lnTo>
                    <a:pt x="3945" y="756"/>
                  </a:lnTo>
                  <a:lnTo>
                    <a:pt x="3942" y="756"/>
                  </a:lnTo>
                  <a:lnTo>
                    <a:pt x="3936" y="754"/>
                  </a:lnTo>
                  <a:lnTo>
                    <a:pt x="3934" y="753"/>
                  </a:lnTo>
                  <a:lnTo>
                    <a:pt x="3932" y="752"/>
                  </a:lnTo>
                  <a:lnTo>
                    <a:pt x="3930" y="749"/>
                  </a:lnTo>
                  <a:lnTo>
                    <a:pt x="3620" y="400"/>
                  </a:lnTo>
                  <a:lnTo>
                    <a:pt x="3620" y="731"/>
                  </a:lnTo>
                  <a:lnTo>
                    <a:pt x="3620" y="736"/>
                  </a:lnTo>
                  <a:lnTo>
                    <a:pt x="3619" y="738"/>
                  </a:lnTo>
                  <a:lnTo>
                    <a:pt x="3618" y="741"/>
                  </a:lnTo>
                  <a:lnTo>
                    <a:pt x="3616" y="745"/>
                  </a:lnTo>
                  <a:lnTo>
                    <a:pt x="3614" y="747"/>
                  </a:lnTo>
                  <a:lnTo>
                    <a:pt x="3613" y="749"/>
                  </a:lnTo>
                  <a:lnTo>
                    <a:pt x="3609" y="752"/>
                  </a:lnTo>
                  <a:lnTo>
                    <a:pt x="3605" y="754"/>
                  </a:lnTo>
                  <a:lnTo>
                    <a:pt x="3602" y="755"/>
                  </a:lnTo>
                  <a:lnTo>
                    <a:pt x="3600" y="756"/>
                  </a:lnTo>
                  <a:lnTo>
                    <a:pt x="3595" y="756"/>
                  </a:lnTo>
                  <a:lnTo>
                    <a:pt x="3533" y="756"/>
                  </a:lnTo>
                  <a:lnTo>
                    <a:pt x="3528" y="756"/>
                  </a:lnTo>
                  <a:lnTo>
                    <a:pt x="3523" y="754"/>
                  </a:lnTo>
                  <a:lnTo>
                    <a:pt x="3518" y="752"/>
                  </a:lnTo>
                  <a:lnTo>
                    <a:pt x="3515" y="749"/>
                  </a:lnTo>
                  <a:lnTo>
                    <a:pt x="3512" y="745"/>
                  </a:lnTo>
                  <a:lnTo>
                    <a:pt x="3510" y="743"/>
                  </a:lnTo>
                  <a:lnTo>
                    <a:pt x="3509" y="741"/>
                  </a:lnTo>
                  <a:lnTo>
                    <a:pt x="3508" y="736"/>
                  </a:lnTo>
                  <a:lnTo>
                    <a:pt x="3508" y="731"/>
                  </a:lnTo>
                  <a:lnTo>
                    <a:pt x="3508" y="37"/>
                  </a:lnTo>
                  <a:close/>
                  <a:moveTo>
                    <a:pt x="2" y="729"/>
                  </a:moveTo>
                  <a:lnTo>
                    <a:pt x="329" y="12"/>
                  </a:lnTo>
                  <a:lnTo>
                    <a:pt x="330" y="10"/>
                  </a:lnTo>
                  <a:lnTo>
                    <a:pt x="332" y="8"/>
                  </a:lnTo>
                  <a:lnTo>
                    <a:pt x="335" y="6"/>
                  </a:lnTo>
                  <a:lnTo>
                    <a:pt x="337" y="4"/>
                  </a:lnTo>
                  <a:lnTo>
                    <a:pt x="340" y="2"/>
                  </a:lnTo>
                  <a:lnTo>
                    <a:pt x="342" y="1"/>
                  </a:lnTo>
                  <a:lnTo>
                    <a:pt x="345" y="1"/>
                  </a:lnTo>
                  <a:lnTo>
                    <a:pt x="347" y="0"/>
                  </a:lnTo>
                  <a:lnTo>
                    <a:pt x="358" y="0"/>
                  </a:lnTo>
                  <a:lnTo>
                    <a:pt x="360" y="1"/>
                  </a:lnTo>
                  <a:lnTo>
                    <a:pt x="362" y="1"/>
                  </a:lnTo>
                  <a:lnTo>
                    <a:pt x="365" y="2"/>
                  </a:lnTo>
                  <a:lnTo>
                    <a:pt x="367" y="4"/>
                  </a:lnTo>
                  <a:lnTo>
                    <a:pt x="370" y="6"/>
                  </a:lnTo>
                  <a:lnTo>
                    <a:pt x="372" y="8"/>
                  </a:lnTo>
                  <a:lnTo>
                    <a:pt x="376" y="12"/>
                  </a:lnTo>
                  <a:lnTo>
                    <a:pt x="701" y="729"/>
                  </a:lnTo>
                  <a:lnTo>
                    <a:pt x="703" y="734"/>
                  </a:lnTo>
                  <a:lnTo>
                    <a:pt x="703" y="739"/>
                  </a:lnTo>
                  <a:lnTo>
                    <a:pt x="702" y="744"/>
                  </a:lnTo>
                  <a:lnTo>
                    <a:pt x="702" y="746"/>
                  </a:lnTo>
                  <a:lnTo>
                    <a:pt x="700" y="748"/>
                  </a:lnTo>
                  <a:lnTo>
                    <a:pt x="699" y="750"/>
                  </a:lnTo>
                  <a:lnTo>
                    <a:pt x="697" y="751"/>
                  </a:lnTo>
                  <a:lnTo>
                    <a:pt x="693" y="754"/>
                  </a:lnTo>
                  <a:lnTo>
                    <a:pt x="689" y="756"/>
                  </a:lnTo>
                  <a:lnTo>
                    <a:pt x="686" y="756"/>
                  </a:lnTo>
                  <a:lnTo>
                    <a:pt x="683" y="757"/>
                  </a:lnTo>
                  <a:lnTo>
                    <a:pt x="616" y="757"/>
                  </a:lnTo>
                  <a:lnTo>
                    <a:pt x="611" y="756"/>
                  </a:lnTo>
                  <a:lnTo>
                    <a:pt x="607" y="755"/>
                  </a:lnTo>
                  <a:lnTo>
                    <a:pt x="606" y="755"/>
                  </a:lnTo>
                  <a:lnTo>
                    <a:pt x="604" y="754"/>
                  </a:lnTo>
                  <a:lnTo>
                    <a:pt x="601" y="752"/>
                  </a:lnTo>
                  <a:lnTo>
                    <a:pt x="598" y="750"/>
                  </a:lnTo>
                  <a:lnTo>
                    <a:pt x="595" y="747"/>
                  </a:lnTo>
                  <a:lnTo>
                    <a:pt x="593" y="744"/>
                  </a:lnTo>
                  <a:lnTo>
                    <a:pt x="592" y="741"/>
                  </a:lnTo>
                  <a:lnTo>
                    <a:pt x="526" y="595"/>
                  </a:lnTo>
                  <a:lnTo>
                    <a:pt x="177" y="595"/>
                  </a:lnTo>
                  <a:lnTo>
                    <a:pt x="144" y="668"/>
                  </a:lnTo>
                  <a:lnTo>
                    <a:pt x="112" y="741"/>
                  </a:lnTo>
                  <a:lnTo>
                    <a:pt x="109" y="746"/>
                  </a:lnTo>
                  <a:lnTo>
                    <a:pt x="103" y="751"/>
                  </a:lnTo>
                  <a:lnTo>
                    <a:pt x="100" y="753"/>
                  </a:lnTo>
                  <a:lnTo>
                    <a:pt x="96" y="755"/>
                  </a:lnTo>
                  <a:lnTo>
                    <a:pt x="92" y="756"/>
                  </a:lnTo>
                  <a:lnTo>
                    <a:pt x="88" y="757"/>
                  </a:lnTo>
                  <a:lnTo>
                    <a:pt x="21" y="757"/>
                  </a:lnTo>
                  <a:lnTo>
                    <a:pt x="15" y="756"/>
                  </a:lnTo>
                  <a:lnTo>
                    <a:pt x="10" y="754"/>
                  </a:lnTo>
                  <a:lnTo>
                    <a:pt x="6" y="751"/>
                  </a:lnTo>
                  <a:lnTo>
                    <a:pt x="4" y="750"/>
                  </a:lnTo>
                  <a:lnTo>
                    <a:pt x="3" y="748"/>
                  </a:lnTo>
                  <a:lnTo>
                    <a:pt x="1" y="744"/>
                  </a:lnTo>
                  <a:lnTo>
                    <a:pt x="1" y="741"/>
                  </a:lnTo>
                  <a:lnTo>
                    <a:pt x="0" y="739"/>
                  </a:lnTo>
                  <a:lnTo>
                    <a:pt x="0" y="737"/>
                  </a:lnTo>
                  <a:lnTo>
                    <a:pt x="1" y="734"/>
                  </a:lnTo>
                  <a:lnTo>
                    <a:pt x="1" y="731"/>
                  </a:lnTo>
                  <a:lnTo>
                    <a:pt x="2" y="729"/>
                  </a:lnTo>
                  <a:close/>
                  <a:moveTo>
                    <a:pt x="485" y="503"/>
                  </a:moveTo>
                  <a:lnTo>
                    <a:pt x="353" y="211"/>
                  </a:lnTo>
                  <a:lnTo>
                    <a:pt x="348" y="211"/>
                  </a:lnTo>
                  <a:lnTo>
                    <a:pt x="218" y="503"/>
                  </a:lnTo>
                  <a:lnTo>
                    <a:pt x="485" y="503"/>
                  </a:lnTo>
                  <a:close/>
                  <a:moveTo>
                    <a:pt x="814" y="31"/>
                  </a:moveTo>
                  <a:lnTo>
                    <a:pt x="815" y="27"/>
                  </a:lnTo>
                  <a:lnTo>
                    <a:pt x="816" y="24"/>
                  </a:lnTo>
                  <a:lnTo>
                    <a:pt x="818" y="20"/>
                  </a:lnTo>
                  <a:lnTo>
                    <a:pt x="820" y="17"/>
                  </a:lnTo>
                  <a:lnTo>
                    <a:pt x="823" y="15"/>
                  </a:lnTo>
                  <a:lnTo>
                    <a:pt x="827" y="13"/>
                  </a:lnTo>
                  <a:lnTo>
                    <a:pt x="830" y="11"/>
                  </a:lnTo>
                  <a:lnTo>
                    <a:pt x="835" y="11"/>
                  </a:lnTo>
                  <a:lnTo>
                    <a:pt x="1077" y="11"/>
                  </a:lnTo>
                  <a:lnTo>
                    <a:pt x="1089" y="11"/>
                  </a:lnTo>
                  <a:lnTo>
                    <a:pt x="1101" y="12"/>
                  </a:lnTo>
                  <a:lnTo>
                    <a:pt x="1113" y="14"/>
                  </a:lnTo>
                  <a:lnTo>
                    <a:pt x="1125" y="16"/>
                  </a:lnTo>
                  <a:lnTo>
                    <a:pt x="1136" y="19"/>
                  </a:lnTo>
                  <a:lnTo>
                    <a:pt x="1148" y="22"/>
                  </a:lnTo>
                  <a:lnTo>
                    <a:pt x="1159" y="25"/>
                  </a:lnTo>
                  <a:lnTo>
                    <a:pt x="1170" y="30"/>
                  </a:lnTo>
                  <a:lnTo>
                    <a:pt x="1180" y="34"/>
                  </a:lnTo>
                  <a:lnTo>
                    <a:pt x="1190" y="40"/>
                  </a:lnTo>
                  <a:lnTo>
                    <a:pt x="1200" y="45"/>
                  </a:lnTo>
                  <a:lnTo>
                    <a:pt x="1210" y="51"/>
                  </a:lnTo>
                  <a:lnTo>
                    <a:pt x="1219" y="58"/>
                  </a:lnTo>
                  <a:lnTo>
                    <a:pt x="1228" y="65"/>
                  </a:lnTo>
                  <a:lnTo>
                    <a:pt x="1237" y="72"/>
                  </a:lnTo>
                  <a:lnTo>
                    <a:pt x="1245" y="80"/>
                  </a:lnTo>
                  <a:lnTo>
                    <a:pt x="1253" y="88"/>
                  </a:lnTo>
                  <a:lnTo>
                    <a:pt x="1261" y="97"/>
                  </a:lnTo>
                  <a:lnTo>
                    <a:pt x="1268" y="106"/>
                  </a:lnTo>
                  <a:lnTo>
                    <a:pt x="1275" y="115"/>
                  </a:lnTo>
                  <a:lnTo>
                    <a:pt x="1281" y="125"/>
                  </a:lnTo>
                  <a:lnTo>
                    <a:pt x="1286" y="135"/>
                  </a:lnTo>
                  <a:lnTo>
                    <a:pt x="1292" y="145"/>
                  </a:lnTo>
                  <a:lnTo>
                    <a:pt x="1297" y="155"/>
                  </a:lnTo>
                  <a:lnTo>
                    <a:pt x="1301" y="166"/>
                  </a:lnTo>
                  <a:lnTo>
                    <a:pt x="1305" y="177"/>
                  </a:lnTo>
                  <a:lnTo>
                    <a:pt x="1308" y="188"/>
                  </a:lnTo>
                  <a:lnTo>
                    <a:pt x="1311" y="199"/>
                  </a:lnTo>
                  <a:lnTo>
                    <a:pt x="1313" y="211"/>
                  </a:lnTo>
                  <a:lnTo>
                    <a:pt x="1314" y="222"/>
                  </a:lnTo>
                  <a:lnTo>
                    <a:pt x="1315" y="234"/>
                  </a:lnTo>
                  <a:lnTo>
                    <a:pt x="1315" y="246"/>
                  </a:lnTo>
                  <a:lnTo>
                    <a:pt x="1315" y="258"/>
                  </a:lnTo>
                  <a:lnTo>
                    <a:pt x="1314" y="270"/>
                  </a:lnTo>
                  <a:lnTo>
                    <a:pt x="1313" y="282"/>
                  </a:lnTo>
                  <a:lnTo>
                    <a:pt x="1311" y="294"/>
                  </a:lnTo>
                  <a:lnTo>
                    <a:pt x="1308" y="307"/>
                  </a:lnTo>
                  <a:lnTo>
                    <a:pt x="1305" y="318"/>
                  </a:lnTo>
                  <a:lnTo>
                    <a:pt x="1301" y="329"/>
                  </a:lnTo>
                  <a:lnTo>
                    <a:pt x="1297" y="340"/>
                  </a:lnTo>
                  <a:lnTo>
                    <a:pt x="1292" y="351"/>
                  </a:lnTo>
                  <a:lnTo>
                    <a:pt x="1287" y="361"/>
                  </a:lnTo>
                  <a:lnTo>
                    <a:pt x="1281" y="371"/>
                  </a:lnTo>
                  <a:lnTo>
                    <a:pt x="1275" y="381"/>
                  </a:lnTo>
                  <a:lnTo>
                    <a:pt x="1268" y="390"/>
                  </a:lnTo>
                  <a:lnTo>
                    <a:pt x="1261" y="399"/>
                  </a:lnTo>
                  <a:lnTo>
                    <a:pt x="1253" y="408"/>
                  </a:lnTo>
                  <a:lnTo>
                    <a:pt x="1245" y="416"/>
                  </a:lnTo>
                  <a:lnTo>
                    <a:pt x="1237" y="424"/>
                  </a:lnTo>
                  <a:lnTo>
                    <a:pt x="1229" y="432"/>
                  </a:lnTo>
                  <a:lnTo>
                    <a:pt x="1220" y="439"/>
                  </a:lnTo>
                  <a:lnTo>
                    <a:pt x="1210" y="445"/>
                  </a:lnTo>
                  <a:lnTo>
                    <a:pt x="1201" y="452"/>
                  </a:lnTo>
                  <a:lnTo>
                    <a:pt x="1191" y="457"/>
                  </a:lnTo>
                  <a:lnTo>
                    <a:pt x="1180" y="463"/>
                  </a:lnTo>
                  <a:lnTo>
                    <a:pt x="1170" y="468"/>
                  </a:lnTo>
                  <a:lnTo>
                    <a:pt x="1159" y="472"/>
                  </a:lnTo>
                  <a:lnTo>
                    <a:pt x="1148" y="476"/>
                  </a:lnTo>
                  <a:lnTo>
                    <a:pt x="1137" y="479"/>
                  </a:lnTo>
                  <a:lnTo>
                    <a:pt x="1126" y="481"/>
                  </a:lnTo>
                  <a:lnTo>
                    <a:pt x="1114" y="484"/>
                  </a:lnTo>
                  <a:lnTo>
                    <a:pt x="1102" y="485"/>
                  </a:lnTo>
                  <a:lnTo>
                    <a:pt x="1090" y="486"/>
                  </a:lnTo>
                  <a:lnTo>
                    <a:pt x="1078" y="486"/>
                  </a:lnTo>
                  <a:lnTo>
                    <a:pt x="924" y="486"/>
                  </a:lnTo>
                  <a:lnTo>
                    <a:pt x="924" y="736"/>
                  </a:lnTo>
                  <a:lnTo>
                    <a:pt x="924" y="740"/>
                  </a:lnTo>
                  <a:lnTo>
                    <a:pt x="922" y="744"/>
                  </a:lnTo>
                  <a:lnTo>
                    <a:pt x="920" y="747"/>
                  </a:lnTo>
                  <a:lnTo>
                    <a:pt x="918" y="750"/>
                  </a:lnTo>
                  <a:lnTo>
                    <a:pt x="915" y="753"/>
                  </a:lnTo>
                  <a:lnTo>
                    <a:pt x="911" y="755"/>
                  </a:lnTo>
                  <a:lnTo>
                    <a:pt x="908" y="756"/>
                  </a:lnTo>
                  <a:lnTo>
                    <a:pt x="904" y="756"/>
                  </a:lnTo>
                  <a:lnTo>
                    <a:pt x="835" y="756"/>
                  </a:lnTo>
                  <a:lnTo>
                    <a:pt x="830" y="756"/>
                  </a:lnTo>
                  <a:lnTo>
                    <a:pt x="827" y="755"/>
                  </a:lnTo>
                  <a:lnTo>
                    <a:pt x="823" y="753"/>
                  </a:lnTo>
                  <a:lnTo>
                    <a:pt x="820" y="750"/>
                  </a:lnTo>
                  <a:lnTo>
                    <a:pt x="818" y="747"/>
                  </a:lnTo>
                  <a:lnTo>
                    <a:pt x="816" y="744"/>
                  </a:lnTo>
                  <a:lnTo>
                    <a:pt x="815" y="740"/>
                  </a:lnTo>
                  <a:lnTo>
                    <a:pt x="814" y="736"/>
                  </a:lnTo>
                  <a:lnTo>
                    <a:pt x="814" y="31"/>
                  </a:lnTo>
                  <a:close/>
                  <a:moveTo>
                    <a:pt x="1071" y="382"/>
                  </a:moveTo>
                  <a:lnTo>
                    <a:pt x="1078" y="382"/>
                  </a:lnTo>
                  <a:lnTo>
                    <a:pt x="1084" y="381"/>
                  </a:lnTo>
                  <a:lnTo>
                    <a:pt x="1098" y="379"/>
                  </a:lnTo>
                  <a:lnTo>
                    <a:pt x="1110" y="376"/>
                  </a:lnTo>
                  <a:lnTo>
                    <a:pt x="1117" y="374"/>
                  </a:lnTo>
                  <a:lnTo>
                    <a:pt x="1123" y="372"/>
                  </a:lnTo>
                  <a:lnTo>
                    <a:pt x="1129" y="369"/>
                  </a:lnTo>
                  <a:lnTo>
                    <a:pt x="1135" y="366"/>
                  </a:lnTo>
                  <a:lnTo>
                    <a:pt x="1146" y="359"/>
                  </a:lnTo>
                  <a:lnTo>
                    <a:pt x="1156" y="351"/>
                  </a:lnTo>
                  <a:lnTo>
                    <a:pt x="1166" y="343"/>
                  </a:lnTo>
                  <a:lnTo>
                    <a:pt x="1175" y="333"/>
                  </a:lnTo>
                  <a:lnTo>
                    <a:pt x="1179" y="328"/>
                  </a:lnTo>
                  <a:lnTo>
                    <a:pt x="1182" y="323"/>
                  </a:lnTo>
                  <a:lnTo>
                    <a:pt x="1186" y="317"/>
                  </a:lnTo>
                  <a:lnTo>
                    <a:pt x="1189" y="312"/>
                  </a:lnTo>
                  <a:lnTo>
                    <a:pt x="1195" y="299"/>
                  </a:lnTo>
                  <a:lnTo>
                    <a:pt x="1198" y="292"/>
                  </a:lnTo>
                  <a:lnTo>
                    <a:pt x="1200" y="286"/>
                  </a:lnTo>
                  <a:lnTo>
                    <a:pt x="1203" y="273"/>
                  </a:lnTo>
                  <a:lnTo>
                    <a:pt x="1204" y="266"/>
                  </a:lnTo>
                  <a:lnTo>
                    <a:pt x="1205" y="263"/>
                  </a:lnTo>
                  <a:lnTo>
                    <a:pt x="1205" y="259"/>
                  </a:lnTo>
                  <a:lnTo>
                    <a:pt x="1206" y="252"/>
                  </a:lnTo>
                  <a:lnTo>
                    <a:pt x="1206" y="245"/>
                  </a:lnTo>
                  <a:lnTo>
                    <a:pt x="1206" y="238"/>
                  </a:lnTo>
                  <a:lnTo>
                    <a:pt x="1205" y="232"/>
                  </a:lnTo>
                  <a:lnTo>
                    <a:pt x="1203" y="219"/>
                  </a:lnTo>
                  <a:lnTo>
                    <a:pt x="1202" y="213"/>
                  </a:lnTo>
                  <a:lnTo>
                    <a:pt x="1200" y="206"/>
                  </a:lnTo>
                  <a:lnTo>
                    <a:pt x="1195" y="195"/>
                  </a:lnTo>
                  <a:lnTo>
                    <a:pt x="1189" y="183"/>
                  </a:lnTo>
                  <a:lnTo>
                    <a:pt x="1182" y="173"/>
                  </a:lnTo>
                  <a:lnTo>
                    <a:pt x="1179" y="168"/>
                  </a:lnTo>
                  <a:lnTo>
                    <a:pt x="1175" y="163"/>
                  </a:lnTo>
                  <a:lnTo>
                    <a:pt x="1170" y="158"/>
                  </a:lnTo>
                  <a:lnTo>
                    <a:pt x="1166" y="154"/>
                  </a:lnTo>
                  <a:lnTo>
                    <a:pt x="1156" y="146"/>
                  </a:lnTo>
                  <a:lnTo>
                    <a:pt x="1146" y="139"/>
                  </a:lnTo>
                  <a:lnTo>
                    <a:pt x="1135" y="132"/>
                  </a:lnTo>
                  <a:lnTo>
                    <a:pt x="1129" y="130"/>
                  </a:lnTo>
                  <a:lnTo>
                    <a:pt x="1123" y="127"/>
                  </a:lnTo>
                  <a:lnTo>
                    <a:pt x="1110" y="123"/>
                  </a:lnTo>
                  <a:lnTo>
                    <a:pt x="1098" y="120"/>
                  </a:lnTo>
                  <a:lnTo>
                    <a:pt x="1084" y="118"/>
                  </a:lnTo>
                  <a:lnTo>
                    <a:pt x="1071" y="117"/>
                  </a:lnTo>
                  <a:lnTo>
                    <a:pt x="924" y="117"/>
                  </a:lnTo>
                  <a:lnTo>
                    <a:pt x="924" y="382"/>
                  </a:lnTo>
                  <a:lnTo>
                    <a:pt x="1071" y="382"/>
                  </a:lnTo>
                  <a:close/>
                  <a:moveTo>
                    <a:pt x="1793" y="0"/>
                  </a:moveTo>
                  <a:lnTo>
                    <a:pt x="1812" y="1"/>
                  </a:lnTo>
                  <a:lnTo>
                    <a:pt x="1832" y="2"/>
                  </a:lnTo>
                  <a:lnTo>
                    <a:pt x="1851" y="5"/>
                  </a:lnTo>
                  <a:lnTo>
                    <a:pt x="1871" y="8"/>
                  </a:lnTo>
                  <a:lnTo>
                    <a:pt x="1890" y="12"/>
                  </a:lnTo>
                  <a:lnTo>
                    <a:pt x="1899" y="15"/>
                  </a:lnTo>
                  <a:lnTo>
                    <a:pt x="1908" y="18"/>
                  </a:lnTo>
                  <a:lnTo>
                    <a:pt x="1917" y="20"/>
                  </a:lnTo>
                  <a:lnTo>
                    <a:pt x="1926" y="24"/>
                  </a:lnTo>
                  <a:lnTo>
                    <a:pt x="1943" y="30"/>
                  </a:lnTo>
                  <a:lnTo>
                    <a:pt x="1960" y="38"/>
                  </a:lnTo>
                  <a:lnTo>
                    <a:pt x="1977" y="47"/>
                  </a:lnTo>
                  <a:lnTo>
                    <a:pt x="1993" y="56"/>
                  </a:lnTo>
                  <a:lnTo>
                    <a:pt x="2008" y="66"/>
                  </a:lnTo>
                  <a:lnTo>
                    <a:pt x="2023" y="76"/>
                  </a:lnTo>
                  <a:lnTo>
                    <a:pt x="2038" y="88"/>
                  </a:lnTo>
                  <a:lnTo>
                    <a:pt x="2052" y="100"/>
                  </a:lnTo>
                  <a:lnTo>
                    <a:pt x="2058" y="106"/>
                  </a:lnTo>
                  <a:lnTo>
                    <a:pt x="2065" y="113"/>
                  </a:lnTo>
                  <a:lnTo>
                    <a:pt x="2077" y="126"/>
                  </a:lnTo>
                  <a:lnTo>
                    <a:pt x="2089" y="140"/>
                  </a:lnTo>
                  <a:lnTo>
                    <a:pt x="2095" y="147"/>
                  </a:lnTo>
                  <a:lnTo>
                    <a:pt x="2101" y="154"/>
                  </a:lnTo>
                  <a:lnTo>
                    <a:pt x="2111" y="169"/>
                  </a:lnTo>
                  <a:lnTo>
                    <a:pt x="2121" y="185"/>
                  </a:lnTo>
                  <a:lnTo>
                    <a:pt x="2131" y="201"/>
                  </a:lnTo>
                  <a:lnTo>
                    <a:pt x="2139" y="218"/>
                  </a:lnTo>
                  <a:lnTo>
                    <a:pt x="2147" y="235"/>
                  </a:lnTo>
                  <a:lnTo>
                    <a:pt x="2150" y="243"/>
                  </a:lnTo>
                  <a:lnTo>
                    <a:pt x="2153" y="252"/>
                  </a:lnTo>
                  <a:lnTo>
                    <a:pt x="2159" y="270"/>
                  </a:lnTo>
                  <a:lnTo>
                    <a:pt x="2165" y="288"/>
                  </a:lnTo>
                  <a:lnTo>
                    <a:pt x="2169" y="308"/>
                  </a:lnTo>
                  <a:lnTo>
                    <a:pt x="2171" y="317"/>
                  </a:lnTo>
                  <a:lnTo>
                    <a:pt x="2172" y="327"/>
                  </a:lnTo>
                  <a:lnTo>
                    <a:pt x="2175" y="346"/>
                  </a:lnTo>
                  <a:lnTo>
                    <a:pt x="2176" y="366"/>
                  </a:lnTo>
                  <a:lnTo>
                    <a:pt x="2177" y="385"/>
                  </a:lnTo>
                  <a:lnTo>
                    <a:pt x="2176" y="405"/>
                  </a:lnTo>
                  <a:lnTo>
                    <a:pt x="2175" y="425"/>
                  </a:lnTo>
                  <a:lnTo>
                    <a:pt x="2172" y="444"/>
                  </a:lnTo>
                  <a:lnTo>
                    <a:pt x="2169" y="463"/>
                  </a:lnTo>
                  <a:lnTo>
                    <a:pt x="2165" y="481"/>
                  </a:lnTo>
                  <a:lnTo>
                    <a:pt x="2162" y="491"/>
                  </a:lnTo>
                  <a:lnTo>
                    <a:pt x="2159" y="500"/>
                  </a:lnTo>
                  <a:lnTo>
                    <a:pt x="2157" y="509"/>
                  </a:lnTo>
                  <a:lnTo>
                    <a:pt x="2153" y="517"/>
                  </a:lnTo>
                  <a:lnTo>
                    <a:pt x="2147" y="535"/>
                  </a:lnTo>
                  <a:lnTo>
                    <a:pt x="2139" y="552"/>
                  </a:lnTo>
                  <a:lnTo>
                    <a:pt x="2131" y="568"/>
                  </a:lnTo>
                  <a:lnTo>
                    <a:pt x="2121" y="584"/>
                  </a:lnTo>
                  <a:lnTo>
                    <a:pt x="2111" y="600"/>
                  </a:lnTo>
                  <a:lnTo>
                    <a:pt x="2101" y="615"/>
                  </a:lnTo>
                  <a:lnTo>
                    <a:pt x="2089" y="629"/>
                  </a:lnTo>
                  <a:lnTo>
                    <a:pt x="2077" y="643"/>
                  </a:lnTo>
                  <a:lnTo>
                    <a:pt x="2071" y="649"/>
                  </a:lnTo>
                  <a:lnTo>
                    <a:pt x="2065" y="656"/>
                  </a:lnTo>
                  <a:lnTo>
                    <a:pt x="2052" y="669"/>
                  </a:lnTo>
                  <a:lnTo>
                    <a:pt x="2038" y="681"/>
                  </a:lnTo>
                  <a:lnTo>
                    <a:pt x="2031" y="686"/>
                  </a:lnTo>
                  <a:lnTo>
                    <a:pt x="2023" y="692"/>
                  </a:lnTo>
                  <a:lnTo>
                    <a:pt x="2008" y="702"/>
                  </a:lnTo>
                  <a:lnTo>
                    <a:pt x="2001" y="707"/>
                  </a:lnTo>
                  <a:lnTo>
                    <a:pt x="1993" y="712"/>
                  </a:lnTo>
                  <a:lnTo>
                    <a:pt x="1977" y="721"/>
                  </a:lnTo>
                  <a:lnTo>
                    <a:pt x="1960" y="730"/>
                  </a:lnTo>
                  <a:lnTo>
                    <a:pt x="1952" y="734"/>
                  </a:lnTo>
                  <a:lnTo>
                    <a:pt x="1943" y="737"/>
                  </a:lnTo>
                  <a:lnTo>
                    <a:pt x="1935" y="741"/>
                  </a:lnTo>
                  <a:lnTo>
                    <a:pt x="1926" y="744"/>
                  </a:lnTo>
                  <a:lnTo>
                    <a:pt x="1908" y="750"/>
                  </a:lnTo>
                  <a:lnTo>
                    <a:pt x="1890" y="755"/>
                  </a:lnTo>
                  <a:lnTo>
                    <a:pt x="1871" y="759"/>
                  </a:lnTo>
                  <a:lnTo>
                    <a:pt x="1851" y="763"/>
                  </a:lnTo>
                  <a:lnTo>
                    <a:pt x="1832" y="765"/>
                  </a:lnTo>
                  <a:lnTo>
                    <a:pt x="1812" y="767"/>
                  </a:lnTo>
                  <a:lnTo>
                    <a:pt x="1793" y="767"/>
                  </a:lnTo>
                  <a:lnTo>
                    <a:pt x="1773" y="767"/>
                  </a:lnTo>
                  <a:lnTo>
                    <a:pt x="1753" y="765"/>
                  </a:lnTo>
                  <a:lnTo>
                    <a:pt x="1734" y="763"/>
                  </a:lnTo>
                  <a:lnTo>
                    <a:pt x="1715" y="759"/>
                  </a:lnTo>
                  <a:lnTo>
                    <a:pt x="1697" y="755"/>
                  </a:lnTo>
                  <a:lnTo>
                    <a:pt x="1678" y="750"/>
                  </a:lnTo>
                  <a:lnTo>
                    <a:pt x="1669" y="747"/>
                  </a:lnTo>
                  <a:lnTo>
                    <a:pt x="1661" y="744"/>
                  </a:lnTo>
                  <a:lnTo>
                    <a:pt x="1643" y="737"/>
                  </a:lnTo>
                  <a:lnTo>
                    <a:pt x="1626" y="730"/>
                  </a:lnTo>
                  <a:lnTo>
                    <a:pt x="1610" y="721"/>
                  </a:lnTo>
                  <a:lnTo>
                    <a:pt x="1594" y="712"/>
                  </a:lnTo>
                  <a:lnTo>
                    <a:pt x="1578" y="702"/>
                  </a:lnTo>
                  <a:lnTo>
                    <a:pt x="1563" y="692"/>
                  </a:lnTo>
                  <a:lnTo>
                    <a:pt x="1549" y="681"/>
                  </a:lnTo>
                  <a:lnTo>
                    <a:pt x="1542" y="675"/>
                  </a:lnTo>
                  <a:lnTo>
                    <a:pt x="1535" y="669"/>
                  </a:lnTo>
                  <a:lnTo>
                    <a:pt x="1522" y="656"/>
                  </a:lnTo>
                  <a:lnTo>
                    <a:pt x="1509" y="643"/>
                  </a:lnTo>
                  <a:lnTo>
                    <a:pt x="1497" y="629"/>
                  </a:lnTo>
                  <a:lnTo>
                    <a:pt x="1492" y="622"/>
                  </a:lnTo>
                  <a:lnTo>
                    <a:pt x="1486" y="615"/>
                  </a:lnTo>
                  <a:lnTo>
                    <a:pt x="1476" y="600"/>
                  </a:lnTo>
                  <a:lnTo>
                    <a:pt x="1471" y="592"/>
                  </a:lnTo>
                  <a:lnTo>
                    <a:pt x="1466" y="584"/>
                  </a:lnTo>
                  <a:lnTo>
                    <a:pt x="1457" y="568"/>
                  </a:lnTo>
                  <a:lnTo>
                    <a:pt x="1448" y="552"/>
                  </a:lnTo>
                  <a:lnTo>
                    <a:pt x="1444" y="543"/>
                  </a:lnTo>
                  <a:lnTo>
                    <a:pt x="1441" y="535"/>
                  </a:lnTo>
                  <a:lnTo>
                    <a:pt x="1437" y="526"/>
                  </a:lnTo>
                  <a:lnTo>
                    <a:pt x="1434" y="517"/>
                  </a:lnTo>
                  <a:lnTo>
                    <a:pt x="1428" y="500"/>
                  </a:lnTo>
                  <a:lnTo>
                    <a:pt x="1423" y="481"/>
                  </a:lnTo>
                  <a:lnTo>
                    <a:pt x="1419" y="463"/>
                  </a:lnTo>
                  <a:lnTo>
                    <a:pt x="1415" y="444"/>
                  </a:lnTo>
                  <a:lnTo>
                    <a:pt x="1413" y="425"/>
                  </a:lnTo>
                  <a:lnTo>
                    <a:pt x="1411" y="405"/>
                  </a:lnTo>
                  <a:lnTo>
                    <a:pt x="1411" y="385"/>
                  </a:lnTo>
                  <a:lnTo>
                    <a:pt x="1411" y="366"/>
                  </a:lnTo>
                  <a:lnTo>
                    <a:pt x="1413" y="346"/>
                  </a:lnTo>
                  <a:lnTo>
                    <a:pt x="1415" y="327"/>
                  </a:lnTo>
                  <a:lnTo>
                    <a:pt x="1419" y="308"/>
                  </a:lnTo>
                  <a:lnTo>
                    <a:pt x="1423" y="288"/>
                  </a:lnTo>
                  <a:lnTo>
                    <a:pt x="1428" y="270"/>
                  </a:lnTo>
                  <a:lnTo>
                    <a:pt x="1431" y="261"/>
                  </a:lnTo>
                  <a:lnTo>
                    <a:pt x="1434" y="252"/>
                  </a:lnTo>
                  <a:lnTo>
                    <a:pt x="1437" y="243"/>
                  </a:lnTo>
                  <a:lnTo>
                    <a:pt x="1441" y="235"/>
                  </a:lnTo>
                  <a:lnTo>
                    <a:pt x="1448" y="218"/>
                  </a:lnTo>
                  <a:lnTo>
                    <a:pt x="1457" y="201"/>
                  </a:lnTo>
                  <a:lnTo>
                    <a:pt x="1466" y="185"/>
                  </a:lnTo>
                  <a:lnTo>
                    <a:pt x="1476" y="169"/>
                  </a:lnTo>
                  <a:lnTo>
                    <a:pt x="1486" y="154"/>
                  </a:lnTo>
                  <a:lnTo>
                    <a:pt x="1497" y="140"/>
                  </a:lnTo>
                  <a:lnTo>
                    <a:pt x="1503" y="133"/>
                  </a:lnTo>
                  <a:lnTo>
                    <a:pt x="1509" y="126"/>
                  </a:lnTo>
                  <a:lnTo>
                    <a:pt x="1522" y="113"/>
                  </a:lnTo>
                  <a:lnTo>
                    <a:pt x="1535" y="100"/>
                  </a:lnTo>
                  <a:lnTo>
                    <a:pt x="1542" y="94"/>
                  </a:lnTo>
                  <a:lnTo>
                    <a:pt x="1549" y="88"/>
                  </a:lnTo>
                  <a:lnTo>
                    <a:pt x="1563" y="76"/>
                  </a:lnTo>
                  <a:lnTo>
                    <a:pt x="1578" y="66"/>
                  </a:lnTo>
                  <a:lnTo>
                    <a:pt x="1594" y="56"/>
                  </a:lnTo>
                  <a:lnTo>
                    <a:pt x="1610" y="47"/>
                  </a:lnTo>
                  <a:lnTo>
                    <a:pt x="1626" y="38"/>
                  </a:lnTo>
                  <a:lnTo>
                    <a:pt x="1643" y="30"/>
                  </a:lnTo>
                  <a:lnTo>
                    <a:pt x="1652" y="27"/>
                  </a:lnTo>
                  <a:lnTo>
                    <a:pt x="1661" y="24"/>
                  </a:lnTo>
                  <a:lnTo>
                    <a:pt x="1669" y="20"/>
                  </a:lnTo>
                  <a:lnTo>
                    <a:pt x="1678" y="18"/>
                  </a:lnTo>
                  <a:lnTo>
                    <a:pt x="1697" y="12"/>
                  </a:lnTo>
                  <a:lnTo>
                    <a:pt x="1715" y="8"/>
                  </a:lnTo>
                  <a:lnTo>
                    <a:pt x="1725" y="6"/>
                  </a:lnTo>
                  <a:lnTo>
                    <a:pt x="1734" y="5"/>
                  </a:lnTo>
                  <a:lnTo>
                    <a:pt x="1753" y="2"/>
                  </a:lnTo>
                  <a:lnTo>
                    <a:pt x="1773" y="1"/>
                  </a:lnTo>
                  <a:lnTo>
                    <a:pt x="1793" y="0"/>
                  </a:lnTo>
                  <a:close/>
                  <a:moveTo>
                    <a:pt x="1793" y="661"/>
                  </a:moveTo>
                  <a:lnTo>
                    <a:pt x="1807" y="660"/>
                  </a:lnTo>
                  <a:lnTo>
                    <a:pt x="1821" y="659"/>
                  </a:lnTo>
                  <a:lnTo>
                    <a:pt x="1835" y="658"/>
                  </a:lnTo>
                  <a:lnTo>
                    <a:pt x="1848" y="655"/>
                  </a:lnTo>
                  <a:lnTo>
                    <a:pt x="1862" y="652"/>
                  </a:lnTo>
                  <a:lnTo>
                    <a:pt x="1876" y="648"/>
                  </a:lnTo>
                  <a:lnTo>
                    <a:pt x="1888" y="644"/>
                  </a:lnTo>
                  <a:lnTo>
                    <a:pt x="1901" y="639"/>
                  </a:lnTo>
                  <a:lnTo>
                    <a:pt x="1913" y="634"/>
                  </a:lnTo>
                  <a:lnTo>
                    <a:pt x="1925" y="628"/>
                  </a:lnTo>
                  <a:lnTo>
                    <a:pt x="1931" y="624"/>
                  </a:lnTo>
                  <a:lnTo>
                    <a:pt x="1937" y="621"/>
                  </a:lnTo>
                  <a:lnTo>
                    <a:pt x="1948" y="614"/>
                  </a:lnTo>
                  <a:lnTo>
                    <a:pt x="1959" y="606"/>
                  </a:lnTo>
                  <a:lnTo>
                    <a:pt x="1969" y="598"/>
                  </a:lnTo>
                  <a:lnTo>
                    <a:pt x="1979" y="589"/>
                  </a:lnTo>
                  <a:lnTo>
                    <a:pt x="1989" y="580"/>
                  </a:lnTo>
                  <a:lnTo>
                    <a:pt x="1998" y="571"/>
                  </a:lnTo>
                  <a:lnTo>
                    <a:pt x="2007" y="561"/>
                  </a:lnTo>
                  <a:lnTo>
                    <a:pt x="2015" y="550"/>
                  </a:lnTo>
                  <a:lnTo>
                    <a:pt x="2023" y="539"/>
                  </a:lnTo>
                  <a:lnTo>
                    <a:pt x="2030" y="528"/>
                  </a:lnTo>
                  <a:lnTo>
                    <a:pt x="2037" y="517"/>
                  </a:lnTo>
                  <a:lnTo>
                    <a:pt x="2043" y="505"/>
                  </a:lnTo>
                  <a:lnTo>
                    <a:pt x="2048" y="493"/>
                  </a:lnTo>
                  <a:lnTo>
                    <a:pt x="2053" y="480"/>
                  </a:lnTo>
                  <a:lnTo>
                    <a:pt x="2058" y="467"/>
                  </a:lnTo>
                  <a:lnTo>
                    <a:pt x="2061" y="454"/>
                  </a:lnTo>
                  <a:lnTo>
                    <a:pt x="2065" y="441"/>
                  </a:lnTo>
                  <a:lnTo>
                    <a:pt x="2067" y="427"/>
                  </a:lnTo>
                  <a:lnTo>
                    <a:pt x="2069" y="413"/>
                  </a:lnTo>
                  <a:lnTo>
                    <a:pt x="2070" y="399"/>
                  </a:lnTo>
                  <a:lnTo>
                    <a:pt x="2070" y="385"/>
                  </a:lnTo>
                  <a:lnTo>
                    <a:pt x="2070" y="371"/>
                  </a:lnTo>
                  <a:lnTo>
                    <a:pt x="2069" y="357"/>
                  </a:lnTo>
                  <a:lnTo>
                    <a:pt x="2067" y="344"/>
                  </a:lnTo>
                  <a:lnTo>
                    <a:pt x="2065" y="330"/>
                  </a:lnTo>
                  <a:lnTo>
                    <a:pt x="2061" y="317"/>
                  </a:lnTo>
                  <a:lnTo>
                    <a:pt x="2058" y="304"/>
                  </a:lnTo>
                  <a:lnTo>
                    <a:pt x="2053" y="290"/>
                  </a:lnTo>
                  <a:lnTo>
                    <a:pt x="2048" y="277"/>
                  </a:lnTo>
                  <a:lnTo>
                    <a:pt x="2043" y="265"/>
                  </a:lnTo>
                  <a:lnTo>
                    <a:pt x="2037" y="253"/>
                  </a:lnTo>
                  <a:lnTo>
                    <a:pt x="2030" y="241"/>
                  </a:lnTo>
                  <a:lnTo>
                    <a:pt x="2023" y="230"/>
                  </a:lnTo>
                  <a:lnTo>
                    <a:pt x="2015" y="219"/>
                  </a:lnTo>
                  <a:lnTo>
                    <a:pt x="2007" y="209"/>
                  </a:lnTo>
                  <a:lnTo>
                    <a:pt x="1998" y="199"/>
                  </a:lnTo>
                  <a:lnTo>
                    <a:pt x="1989" y="189"/>
                  </a:lnTo>
                  <a:lnTo>
                    <a:pt x="1979" y="180"/>
                  </a:lnTo>
                  <a:lnTo>
                    <a:pt x="1969" y="171"/>
                  </a:lnTo>
                  <a:lnTo>
                    <a:pt x="1959" y="163"/>
                  </a:lnTo>
                  <a:lnTo>
                    <a:pt x="1948" y="155"/>
                  </a:lnTo>
                  <a:lnTo>
                    <a:pt x="1937" y="147"/>
                  </a:lnTo>
                  <a:lnTo>
                    <a:pt x="1925" y="141"/>
                  </a:lnTo>
                  <a:lnTo>
                    <a:pt x="1913" y="135"/>
                  </a:lnTo>
                  <a:lnTo>
                    <a:pt x="1901" y="129"/>
                  </a:lnTo>
                  <a:lnTo>
                    <a:pt x="1888" y="124"/>
                  </a:lnTo>
                  <a:lnTo>
                    <a:pt x="1876" y="119"/>
                  </a:lnTo>
                  <a:lnTo>
                    <a:pt x="1862" y="116"/>
                  </a:lnTo>
                  <a:lnTo>
                    <a:pt x="1848" y="113"/>
                  </a:lnTo>
                  <a:lnTo>
                    <a:pt x="1835" y="110"/>
                  </a:lnTo>
                  <a:lnTo>
                    <a:pt x="1821" y="108"/>
                  </a:lnTo>
                  <a:lnTo>
                    <a:pt x="1807" y="107"/>
                  </a:lnTo>
                  <a:lnTo>
                    <a:pt x="1793" y="107"/>
                  </a:lnTo>
                  <a:lnTo>
                    <a:pt x="1779" y="107"/>
                  </a:lnTo>
                  <a:lnTo>
                    <a:pt x="1765" y="108"/>
                  </a:lnTo>
                  <a:lnTo>
                    <a:pt x="1751" y="110"/>
                  </a:lnTo>
                  <a:lnTo>
                    <a:pt x="1737" y="113"/>
                  </a:lnTo>
                  <a:lnTo>
                    <a:pt x="1724" y="116"/>
                  </a:lnTo>
                  <a:lnTo>
                    <a:pt x="1711" y="119"/>
                  </a:lnTo>
                  <a:lnTo>
                    <a:pt x="1698" y="124"/>
                  </a:lnTo>
                  <a:lnTo>
                    <a:pt x="1686" y="129"/>
                  </a:lnTo>
                  <a:lnTo>
                    <a:pt x="1674" y="135"/>
                  </a:lnTo>
                  <a:lnTo>
                    <a:pt x="1662" y="141"/>
                  </a:lnTo>
                  <a:lnTo>
                    <a:pt x="1650" y="147"/>
                  </a:lnTo>
                  <a:lnTo>
                    <a:pt x="1639" y="155"/>
                  </a:lnTo>
                  <a:lnTo>
                    <a:pt x="1628" y="163"/>
                  </a:lnTo>
                  <a:lnTo>
                    <a:pt x="1618" y="171"/>
                  </a:lnTo>
                  <a:lnTo>
                    <a:pt x="1608" y="180"/>
                  </a:lnTo>
                  <a:lnTo>
                    <a:pt x="1598" y="189"/>
                  </a:lnTo>
                  <a:lnTo>
                    <a:pt x="1589" y="199"/>
                  </a:lnTo>
                  <a:lnTo>
                    <a:pt x="1580" y="209"/>
                  </a:lnTo>
                  <a:lnTo>
                    <a:pt x="1572" y="219"/>
                  </a:lnTo>
                  <a:lnTo>
                    <a:pt x="1565" y="230"/>
                  </a:lnTo>
                  <a:lnTo>
                    <a:pt x="1557" y="241"/>
                  </a:lnTo>
                  <a:lnTo>
                    <a:pt x="1551" y="253"/>
                  </a:lnTo>
                  <a:lnTo>
                    <a:pt x="1545" y="265"/>
                  </a:lnTo>
                  <a:lnTo>
                    <a:pt x="1539" y="277"/>
                  </a:lnTo>
                  <a:lnTo>
                    <a:pt x="1534" y="290"/>
                  </a:lnTo>
                  <a:lnTo>
                    <a:pt x="1530" y="304"/>
                  </a:lnTo>
                  <a:lnTo>
                    <a:pt x="1526" y="317"/>
                  </a:lnTo>
                  <a:lnTo>
                    <a:pt x="1523" y="330"/>
                  </a:lnTo>
                  <a:lnTo>
                    <a:pt x="1520" y="344"/>
                  </a:lnTo>
                  <a:lnTo>
                    <a:pt x="1519" y="357"/>
                  </a:lnTo>
                  <a:lnTo>
                    <a:pt x="1518" y="371"/>
                  </a:lnTo>
                  <a:lnTo>
                    <a:pt x="1517" y="385"/>
                  </a:lnTo>
                  <a:lnTo>
                    <a:pt x="1518" y="399"/>
                  </a:lnTo>
                  <a:lnTo>
                    <a:pt x="1519" y="413"/>
                  </a:lnTo>
                  <a:lnTo>
                    <a:pt x="1520" y="427"/>
                  </a:lnTo>
                  <a:lnTo>
                    <a:pt x="1523" y="441"/>
                  </a:lnTo>
                  <a:lnTo>
                    <a:pt x="1526" y="454"/>
                  </a:lnTo>
                  <a:lnTo>
                    <a:pt x="1530" y="467"/>
                  </a:lnTo>
                  <a:lnTo>
                    <a:pt x="1534" y="480"/>
                  </a:lnTo>
                  <a:lnTo>
                    <a:pt x="1539" y="493"/>
                  </a:lnTo>
                  <a:lnTo>
                    <a:pt x="1545" y="505"/>
                  </a:lnTo>
                  <a:lnTo>
                    <a:pt x="1551" y="517"/>
                  </a:lnTo>
                  <a:lnTo>
                    <a:pt x="1557" y="528"/>
                  </a:lnTo>
                  <a:lnTo>
                    <a:pt x="1565" y="539"/>
                  </a:lnTo>
                  <a:lnTo>
                    <a:pt x="1572" y="550"/>
                  </a:lnTo>
                  <a:lnTo>
                    <a:pt x="1580" y="561"/>
                  </a:lnTo>
                  <a:lnTo>
                    <a:pt x="1589" y="571"/>
                  </a:lnTo>
                  <a:lnTo>
                    <a:pt x="1598" y="580"/>
                  </a:lnTo>
                  <a:lnTo>
                    <a:pt x="1608" y="589"/>
                  </a:lnTo>
                  <a:lnTo>
                    <a:pt x="1618" y="598"/>
                  </a:lnTo>
                  <a:lnTo>
                    <a:pt x="1628" y="606"/>
                  </a:lnTo>
                  <a:lnTo>
                    <a:pt x="1639" y="614"/>
                  </a:lnTo>
                  <a:lnTo>
                    <a:pt x="1650" y="621"/>
                  </a:lnTo>
                  <a:lnTo>
                    <a:pt x="1662" y="628"/>
                  </a:lnTo>
                  <a:lnTo>
                    <a:pt x="1674" y="634"/>
                  </a:lnTo>
                  <a:lnTo>
                    <a:pt x="1686" y="639"/>
                  </a:lnTo>
                  <a:lnTo>
                    <a:pt x="1698" y="644"/>
                  </a:lnTo>
                  <a:lnTo>
                    <a:pt x="1711" y="648"/>
                  </a:lnTo>
                  <a:lnTo>
                    <a:pt x="1724" y="652"/>
                  </a:lnTo>
                  <a:lnTo>
                    <a:pt x="1737" y="655"/>
                  </a:lnTo>
                  <a:lnTo>
                    <a:pt x="1751" y="658"/>
                  </a:lnTo>
                  <a:lnTo>
                    <a:pt x="1765" y="659"/>
                  </a:lnTo>
                  <a:lnTo>
                    <a:pt x="1779" y="660"/>
                  </a:lnTo>
                  <a:lnTo>
                    <a:pt x="1793" y="661"/>
                  </a:lnTo>
                  <a:close/>
                  <a:moveTo>
                    <a:pt x="2426" y="111"/>
                  </a:moveTo>
                  <a:lnTo>
                    <a:pt x="2235" y="111"/>
                  </a:lnTo>
                  <a:lnTo>
                    <a:pt x="2230" y="111"/>
                  </a:lnTo>
                  <a:lnTo>
                    <a:pt x="2227" y="109"/>
                  </a:lnTo>
                  <a:lnTo>
                    <a:pt x="2223" y="107"/>
                  </a:lnTo>
                  <a:lnTo>
                    <a:pt x="2220" y="105"/>
                  </a:lnTo>
                  <a:lnTo>
                    <a:pt x="2218" y="102"/>
                  </a:lnTo>
                  <a:lnTo>
                    <a:pt x="2216" y="98"/>
                  </a:lnTo>
                  <a:lnTo>
                    <a:pt x="2215" y="95"/>
                  </a:lnTo>
                  <a:lnTo>
                    <a:pt x="2214" y="91"/>
                  </a:lnTo>
                  <a:lnTo>
                    <a:pt x="2214" y="31"/>
                  </a:lnTo>
                  <a:lnTo>
                    <a:pt x="2215" y="27"/>
                  </a:lnTo>
                  <a:lnTo>
                    <a:pt x="2216" y="24"/>
                  </a:lnTo>
                  <a:lnTo>
                    <a:pt x="2218" y="20"/>
                  </a:lnTo>
                  <a:lnTo>
                    <a:pt x="2220" y="17"/>
                  </a:lnTo>
                  <a:lnTo>
                    <a:pt x="2223" y="15"/>
                  </a:lnTo>
                  <a:lnTo>
                    <a:pt x="2227" y="13"/>
                  </a:lnTo>
                  <a:lnTo>
                    <a:pt x="2230" y="11"/>
                  </a:lnTo>
                  <a:lnTo>
                    <a:pt x="2235" y="11"/>
                  </a:lnTo>
                  <a:lnTo>
                    <a:pt x="2727" y="11"/>
                  </a:lnTo>
                  <a:lnTo>
                    <a:pt x="2732" y="11"/>
                  </a:lnTo>
                  <a:lnTo>
                    <a:pt x="2736" y="13"/>
                  </a:lnTo>
                  <a:lnTo>
                    <a:pt x="2739" y="15"/>
                  </a:lnTo>
                  <a:lnTo>
                    <a:pt x="2742" y="17"/>
                  </a:lnTo>
                  <a:lnTo>
                    <a:pt x="2744" y="20"/>
                  </a:lnTo>
                  <a:lnTo>
                    <a:pt x="2746" y="24"/>
                  </a:lnTo>
                  <a:lnTo>
                    <a:pt x="2747" y="27"/>
                  </a:lnTo>
                  <a:lnTo>
                    <a:pt x="2748" y="31"/>
                  </a:lnTo>
                  <a:lnTo>
                    <a:pt x="2748" y="91"/>
                  </a:lnTo>
                  <a:lnTo>
                    <a:pt x="2747" y="95"/>
                  </a:lnTo>
                  <a:lnTo>
                    <a:pt x="2746" y="98"/>
                  </a:lnTo>
                  <a:lnTo>
                    <a:pt x="2744" y="102"/>
                  </a:lnTo>
                  <a:lnTo>
                    <a:pt x="2742" y="105"/>
                  </a:lnTo>
                  <a:lnTo>
                    <a:pt x="2739" y="107"/>
                  </a:lnTo>
                  <a:lnTo>
                    <a:pt x="2736" y="109"/>
                  </a:lnTo>
                  <a:lnTo>
                    <a:pt x="2732" y="111"/>
                  </a:lnTo>
                  <a:lnTo>
                    <a:pt x="2727" y="111"/>
                  </a:lnTo>
                  <a:lnTo>
                    <a:pt x="2536" y="111"/>
                  </a:lnTo>
                  <a:lnTo>
                    <a:pt x="2536" y="736"/>
                  </a:lnTo>
                  <a:lnTo>
                    <a:pt x="2536" y="740"/>
                  </a:lnTo>
                  <a:lnTo>
                    <a:pt x="2535" y="744"/>
                  </a:lnTo>
                  <a:lnTo>
                    <a:pt x="2533" y="747"/>
                  </a:lnTo>
                  <a:lnTo>
                    <a:pt x="2530" y="750"/>
                  </a:lnTo>
                  <a:lnTo>
                    <a:pt x="2527" y="753"/>
                  </a:lnTo>
                  <a:lnTo>
                    <a:pt x="2524" y="755"/>
                  </a:lnTo>
                  <a:lnTo>
                    <a:pt x="2520" y="756"/>
                  </a:lnTo>
                  <a:lnTo>
                    <a:pt x="2516" y="757"/>
                  </a:lnTo>
                  <a:lnTo>
                    <a:pt x="2446" y="757"/>
                  </a:lnTo>
                  <a:lnTo>
                    <a:pt x="2442" y="756"/>
                  </a:lnTo>
                  <a:lnTo>
                    <a:pt x="2438" y="755"/>
                  </a:lnTo>
                  <a:lnTo>
                    <a:pt x="2435" y="753"/>
                  </a:lnTo>
                  <a:lnTo>
                    <a:pt x="2432" y="750"/>
                  </a:lnTo>
                  <a:lnTo>
                    <a:pt x="2429" y="747"/>
                  </a:lnTo>
                  <a:lnTo>
                    <a:pt x="2427" y="744"/>
                  </a:lnTo>
                  <a:lnTo>
                    <a:pt x="2426" y="740"/>
                  </a:lnTo>
                  <a:lnTo>
                    <a:pt x="2426" y="736"/>
                  </a:lnTo>
                  <a:lnTo>
                    <a:pt x="2426" y="111"/>
                  </a:lnTo>
                  <a:close/>
                  <a:moveTo>
                    <a:pt x="2885" y="31"/>
                  </a:moveTo>
                  <a:lnTo>
                    <a:pt x="2885" y="27"/>
                  </a:lnTo>
                  <a:lnTo>
                    <a:pt x="2886" y="24"/>
                  </a:lnTo>
                  <a:lnTo>
                    <a:pt x="2888" y="20"/>
                  </a:lnTo>
                  <a:lnTo>
                    <a:pt x="2891" y="17"/>
                  </a:lnTo>
                  <a:lnTo>
                    <a:pt x="2893" y="15"/>
                  </a:lnTo>
                  <a:lnTo>
                    <a:pt x="2897" y="13"/>
                  </a:lnTo>
                  <a:lnTo>
                    <a:pt x="2901" y="11"/>
                  </a:lnTo>
                  <a:lnTo>
                    <a:pt x="2905" y="11"/>
                  </a:lnTo>
                  <a:lnTo>
                    <a:pt x="3331" y="11"/>
                  </a:lnTo>
                  <a:lnTo>
                    <a:pt x="3336" y="11"/>
                  </a:lnTo>
                  <a:lnTo>
                    <a:pt x="3340" y="13"/>
                  </a:lnTo>
                  <a:lnTo>
                    <a:pt x="3343" y="15"/>
                  </a:lnTo>
                  <a:lnTo>
                    <a:pt x="3346" y="17"/>
                  </a:lnTo>
                  <a:lnTo>
                    <a:pt x="3348" y="20"/>
                  </a:lnTo>
                  <a:lnTo>
                    <a:pt x="3350" y="24"/>
                  </a:lnTo>
                  <a:lnTo>
                    <a:pt x="3351" y="27"/>
                  </a:lnTo>
                  <a:lnTo>
                    <a:pt x="3352" y="31"/>
                  </a:lnTo>
                  <a:lnTo>
                    <a:pt x="3352" y="91"/>
                  </a:lnTo>
                  <a:lnTo>
                    <a:pt x="3351" y="95"/>
                  </a:lnTo>
                  <a:lnTo>
                    <a:pt x="3350" y="98"/>
                  </a:lnTo>
                  <a:lnTo>
                    <a:pt x="3348" y="102"/>
                  </a:lnTo>
                  <a:lnTo>
                    <a:pt x="3346" y="105"/>
                  </a:lnTo>
                  <a:lnTo>
                    <a:pt x="3343" y="107"/>
                  </a:lnTo>
                  <a:lnTo>
                    <a:pt x="3340" y="109"/>
                  </a:lnTo>
                  <a:lnTo>
                    <a:pt x="3336" y="111"/>
                  </a:lnTo>
                  <a:lnTo>
                    <a:pt x="3331" y="111"/>
                  </a:lnTo>
                  <a:lnTo>
                    <a:pt x="2994" y="111"/>
                  </a:lnTo>
                  <a:lnTo>
                    <a:pt x="2994" y="329"/>
                  </a:lnTo>
                  <a:lnTo>
                    <a:pt x="3278" y="329"/>
                  </a:lnTo>
                  <a:lnTo>
                    <a:pt x="3282" y="329"/>
                  </a:lnTo>
                  <a:lnTo>
                    <a:pt x="3286" y="331"/>
                  </a:lnTo>
                  <a:lnTo>
                    <a:pt x="3289" y="333"/>
                  </a:lnTo>
                  <a:lnTo>
                    <a:pt x="3292" y="335"/>
                  </a:lnTo>
                  <a:lnTo>
                    <a:pt x="3295" y="338"/>
                  </a:lnTo>
                  <a:lnTo>
                    <a:pt x="3297" y="342"/>
                  </a:lnTo>
                  <a:lnTo>
                    <a:pt x="3298" y="345"/>
                  </a:lnTo>
                  <a:lnTo>
                    <a:pt x="3298" y="349"/>
                  </a:lnTo>
                  <a:lnTo>
                    <a:pt x="3298" y="409"/>
                  </a:lnTo>
                  <a:lnTo>
                    <a:pt x="3298" y="413"/>
                  </a:lnTo>
                  <a:lnTo>
                    <a:pt x="3297" y="417"/>
                  </a:lnTo>
                  <a:lnTo>
                    <a:pt x="3295" y="420"/>
                  </a:lnTo>
                  <a:lnTo>
                    <a:pt x="3292" y="423"/>
                  </a:lnTo>
                  <a:lnTo>
                    <a:pt x="3289" y="426"/>
                  </a:lnTo>
                  <a:lnTo>
                    <a:pt x="3286" y="427"/>
                  </a:lnTo>
                  <a:lnTo>
                    <a:pt x="3282" y="429"/>
                  </a:lnTo>
                  <a:lnTo>
                    <a:pt x="3278" y="429"/>
                  </a:lnTo>
                  <a:lnTo>
                    <a:pt x="2994" y="429"/>
                  </a:lnTo>
                  <a:lnTo>
                    <a:pt x="2994" y="658"/>
                  </a:lnTo>
                  <a:lnTo>
                    <a:pt x="3331" y="658"/>
                  </a:lnTo>
                  <a:lnTo>
                    <a:pt x="3336" y="658"/>
                  </a:lnTo>
                  <a:lnTo>
                    <a:pt x="3340" y="659"/>
                  </a:lnTo>
                  <a:lnTo>
                    <a:pt x="3343" y="661"/>
                  </a:lnTo>
                  <a:lnTo>
                    <a:pt x="3346" y="664"/>
                  </a:lnTo>
                  <a:lnTo>
                    <a:pt x="3348" y="667"/>
                  </a:lnTo>
                  <a:lnTo>
                    <a:pt x="3350" y="670"/>
                  </a:lnTo>
                  <a:lnTo>
                    <a:pt x="3351" y="674"/>
                  </a:lnTo>
                  <a:lnTo>
                    <a:pt x="3352" y="678"/>
                  </a:lnTo>
                  <a:lnTo>
                    <a:pt x="3352" y="736"/>
                  </a:lnTo>
                  <a:lnTo>
                    <a:pt x="3351" y="740"/>
                  </a:lnTo>
                  <a:lnTo>
                    <a:pt x="3350" y="744"/>
                  </a:lnTo>
                  <a:lnTo>
                    <a:pt x="3348" y="747"/>
                  </a:lnTo>
                  <a:lnTo>
                    <a:pt x="3346" y="750"/>
                  </a:lnTo>
                  <a:lnTo>
                    <a:pt x="3343" y="753"/>
                  </a:lnTo>
                  <a:lnTo>
                    <a:pt x="3340" y="755"/>
                  </a:lnTo>
                  <a:lnTo>
                    <a:pt x="3336" y="756"/>
                  </a:lnTo>
                  <a:lnTo>
                    <a:pt x="3331" y="757"/>
                  </a:lnTo>
                  <a:lnTo>
                    <a:pt x="2905" y="757"/>
                  </a:lnTo>
                  <a:lnTo>
                    <a:pt x="2901" y="756"/>
                  </a:lnTo>
                  <a:lnTo>
                    <a:pt x="2897" y="755"/>
                  </a:lnTo>
                  <a:lnTo>
                    <a:pt x="2893" y="753"/>
                  </a:lnTo>
                  <a:lnTo>
                    <a:pt x="2891" y="750"/>
                  </a:lnTo>
                  <a:lnTo>
                    <a:pt x="2888" y="747"/>
                  </a:lnTo>
                  <a:lnTo>
                    <a:pt x="2886" y="744"/>
                  </a:lnTo>
                  <a:lnTo>
                    <a:pt x="2885" y="740"/>
                  </a:lnTo>
                  <a:lnTo>
                    <a:pt x="2885" y="736"/>
                  </a:lnTo>
                  <a:lnTo>
                    <a:pt x="2885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12316044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4B1AD3-FEAC-43DB-8D36-05099AFB3BF3}" type="datetime1">
              <a:rPr lang="fi-FI" smtClean="0"/>
              <a:t>31.3.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and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0B285B-2D20-4CC2-81CD-215A1F1E11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44854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F36E65-1C02-488D-8489-FFE3CD1B443F}" type="datetime1">
              <a:rPr lang="fi-FI" smtClean="0"/>
              <a:t>31.3.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and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0B285B-2D20-4CC2-81CD-215A1F1E113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07989" y="405386"/>
            <a:ext cx="9432924" cy="719294"/>
          </a:xfrm>
        </p:spPr>
        <p:txBody>
          <a:bodyPr anchor="b" anchorCtr="0"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406361" y="1267945"/>
            <a:ext cx="9434552" cy="504825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482634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7989" y="405386"/>
            <a:ext cx="9432924" cy="100733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7988" y="1844675"/>
            <a:ext cx="11376024" cy="446405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07988" y="6525430"/>
            <a:ext cx="1943492" cy="14365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6DF36AB6-BB87-415D-B747-79A0C3BF3CF3}" type="datetime1">
              <a:rPr lang="fi-FI" smtClean="0"/>
              <a:t>31.3.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51480" y="6525430"/>
            <a:ext cx="7489433" cy="14365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name and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40913" y="6525430"/>
            <a:ext cx="1943100" cy="14365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350B285B-2D20-4CC2-81CD-215A1F1E113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(c)" hidden="1"/>
          <p:cNvSpPr txBox="1"/>
          <p:nvPr userDrawn="1"/>
        </p:nvSpPr>
        <p:spPr>
          <a:xfrm>
            <a:off x="11952855" y="6891795"/>
            <a:ext cx="232435" cy="307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fi-FI" sz="200" dirty="0">
                <a:solidFill>
                  <a:schemeClr val="bg1"/>
                </a:solidFill>
                <a:latin typeface="+mn-lt"/>
              </a:rPr>
              <a:t>©grow. for</a:t>
            </a:r>
            <a:r>
              <a:rPr lang="fi-FI" sz="200" baseline="0" dirty="0">
                <a:solidFill>
                  <a:schemeClr val="bg1"/>
                </a:solidFill>
                <a:latin typeface="+mn-lt"/>
              </a:rPr>
              <a:t> Oriola</a:t>
            </a:r>
            <a:endParaRPr lang="en-GB" sz="200" dirty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28" name="Rectangle 27"/>
          <p:cNvSpPr/>
          <p:nvPr userDrawn="1"/>
        </p:nvSpPr>
        <p:spPr>
          <a:xfrm rot="10800000">
            <a:off x="-3" y="6777038"/>
            <a:ext cx="9840916" cy="809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/>
          <p:cNvSpPr/>
          <p:nvPr userDrawn="1"/>
        </p:nvSpPr>
        <p:spPr>
          <a:xfrm rot="10800000">
            <a:off x="9840910" y="6777038"/>
            <a:ext cx="2351087" cy="8096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cap="none" spc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grpSp>
        <p:nvGrpSpPr>
          <p:cNvPr id="11" name="Group 10"/>
          <p:cNvGrpSpPr>
            <a:grpSpLocks noChangeAspect="1"/>
          </p:cNvGrpSpPr>
          <p:nvPr userDrawn="1"/>
        </p:nvGrpSpPr>
        <p:grpSpPr>
          <a:xfrm>
            <a:off x="10081690" y="404580"/>
            <a:ext cx="1703100" cy="270000"/>
            <a:chOff x="1455738" y="2698750"/>
            <a:chExt cx="9272588" cy="1470025"/>
          </a:xfrm>
        </p:grpSpPr>
        <p:sp>
          <p:nvSpPr>
            <p:cNvPr id="9" name="Freeform 6"/>
            <p:cNvSpPr>
              <a:spLocks noEditPoints="1"/>
            </p:cNvSpPr>
            <p:nvPr userDrawn="1"/>
          </p:nvSpPr>
          <p:spPr bwMode="auto">
            <a:xfrm>
              <a:off x="1455738" y="2698750"/>
              <a:ext cx="2762250" cy="1416050"/>
            </a:xfrm>
            <a:custGeom>
              <a:avLst/>
              <a:gdLst>
                <a:gd name="T0" fmla="*/ 1740 w 1740"/>
                <a:gd name="T1" fmla="*/ 192 h 892"/>
                <a:gd name="T2" fmla="*/ 1591 w 1740"/>
                <a:gd name="T3" fmla="*/ 483 h 892"/>
                <a:gd name="T4" fmla="*/ 1457 w 1740"/>
                <a:gd name="T5" fmla="*/ 741 h 892"/>
                <a:gd name="T6" fmla="*/ 1047 w 1740"/>
                <a:gd name="T7" fmla="*/ 709 h 892"/>
                <a:gd name="T8" fmla="*/ 607 w 1740"/>
                <a:gd name="T9" fmla="*/ 713 h 892"/>
                <a:gd name="T10" fmla="*/ 257 w 1740"/>
                <a:gd name="T11" fmla="*/ 742 h 892"/>
                <a:gd name="T12" fmla="*/ 149 w 1740"/>
                <a:gd name="T13" fmla="*/ 483 h 892"/>
                <a:gd name="T14" fmla="*/ 0 w 1740"/>
                <a:gd name="T15" fmla="*/ 189 h 892"/>
                <a:gd name="T16" fmla="*/ 36 w 1740"/>
                <a:gd name="T17" fmla="*/ 180 h 892"/>
                <a:gd name="T18" fmla="*/ 121 w 1740"/>
                <a:gd name="T19" fmla="*/ 218 h 892"/>
                <a:gd name="T20" fmla="*/ 194 w 1740"/>
                <a:gd name="T21" fmla="*/ 280 h 892"/>
                <a:gd name="T22" fmla="*/ 249 w 1740"/>
                <a:gd name="T23" fmla="*/ 235 h 892"/>
                <a:gd name="T24" fmla="*/ 335 w 1740"/>
                <a:gd name="T25" fmla="*/ 232 h 892"/>
                <a:gd name="T26" fmla="*/ 390 w 1740"/>
                <a:gd name="T27" fmla="*/ 272 h 892"/>
                <a:gd name="T28" fmla="*/ 362 w 1740"/>
                <a:gd name="T29" fmla="*/ 310 h 892"/>
                <a:gd name="T30" fmla="*/ 334 w 1740"/>
                <a:gd name="T31" fmla="*/ 386 h 892"/>
                <a:gd name="T32" fmla="*/ 344 w 1740"/>
                <a:gd name="T33" fmla="*/ 462 h 892"/>
                <a:gd name="T34" fmla="*/ 405 w 1740"/>
                <a:gd name="T35" fmla="*/ 538 h 892"/>
                <a:gd name="T36" fmla="*/ 492 w 1740"/>
                <a:gd name="T37" fmla="*/ 572 h 892"/>
                <a:gd name="T38" fmla="*/ 590 w 1740"/>
                <a:gd name="T39" fmla="*/ 561 h 892"/>
                <a:gd name="T40" fmla="*/ 658 w 1740"/>
                <a:gd name="T41" fmla="*/ 519 h 892"/>
                <a:gd name="T42" fmla="*/ 706 w 1740"/>
                <a:gd name="T43" fmla="*/ 439 h 892"/>
                <a:gd name="T44" fmla="*/ 704 w 1740"/>
                <a:gd name="T45" fmla="*/ 352 h 892"/>
                <a:gd name="T46" fmla="*/ 653 w 1740"/>
                <a:gd name="T47" fmla="*/ 275 h 892"/>
                <a:gd name="T48" fmla="*/ 596 w 1740"/>
                <a:gd name="T49" fmla="*/ 239 h 892"/>
                <a:gd name="T50" fmla="*/ 615 w 1740"/>
                <a:gd name="T51" fmla="*/ 201 h 892"/>
                <a:gd name="T52" fmla="*/ 678 w 1740"/>
                <a:gd name="T53" fmla="*/ 167 h 892"/>
                <a:gd name="T54" fmla="*/ 760 w 1740"/>
                <a:gd name="T55" fmla="*/ 178 h 892"/>
                <a:gd name="T56" fmla="*/ 790 w 1740"/>
                <a:gd name="T57" fmla="*/ 100 h 892"/>
                <a:gd name="T58" fmla="*/ 822 w 1740"/>
                <a:gd name="T59" fmla="*/ 39 h 892"/>
                <a:gd name="T60" fmla="*/ 871 w 1740"/>
                <a:gd name="T61" fmla="*/ 0 h 892"/>
                <a:gd name="T62" fmla="*/ 920 w 1740"/>
                <a:gd name="T63" fmla="*/ 39 h 892"/>
                <a:gd name="T64" fmla="*/ 962 w 1740"/>
                <a:gd name="T65" fmla="*/ 152 h 892"/>
                <a:gd name="T66" fmla="*/ 1027 w 1740"/>
                <a:gd name="T67" fmla="*/ 165 h 892"/>
                <a:gd name="T68" fmla="*/ 1093 w 1740"/>
                <a:gd name="T69" fmla="*/ 177 h 892"/>
                <a:gd name="T70" fmla="*/ 1145 w 1740"/>
                <a:gd name="T71" fmla="*/ 228 h 892"/>
                <a:gd name="T72" fmla="*/ 1134 w 1740"/>
                <a:gd name="T73" fmla="*/ 245 h 892"/>
                <a:gd name="T74" fmla="*/ 1062 w 1740"/>
                <a:gd name="T75" fmla="*/ 301 h 892"/>
                <a:gd name="T76" fmla="*/ 1033 w 1740"/>
                <a:gd name="T77" fmla="*/ 364 h 892"/>
                <a:gd name="T78" fmla="*/ 1037 w 1740"/>
                <a:gd name="T79" fmla="*/ 447 h 892"/>
                <a:gd name="T80" fmla="*/ 1076 w 1740"/>
                <a:gd name="T81" fmla="*/ 513 h 892"/>
                <a:gd name="T82" fmla="*/ 1159 w 1740"/>
                <a:gd name="T83" fmla="*/ 564 h 892"/>
                <a:gd name="T84" fmla="*/ 1257 w 1740"/>
                <a:gd name="T85" fmla="*/ 570 h 892"/>
                <a:gd name="T86" fmla="*/ 1348 w 1740"/>
                <a:gd name="T87" fmla="*/ 527 h 892"/>
                <a:gd name="T88" fmla="*/ 1393 w 1740"/>
                <a:gd name="T89" fmla="*/ 470 h 892"/>
                <a:gd name="T90" fmla="*/ 1406 w 1740"/>
                <a:gd name="T91" fmla="*/ 386 h 892"/>
                <a:gd name="T92" fmla="*/ 1378 w 1740"/>
                <a:gd name="T93" fmla="*/ 310 h 892"/>
                <a:gd name="T94" fmla="*/ 1350 w 1740"/>
                <a:gd name="T95" fmla="*/ 270 h 892"/>
                <a:gd name="T96" fmla="*/ 1400 w 1740"/>
                <a:gd name="T97" fmla="*/ 234 h 892"/>
                <a:gd name="T98" fmla="*/ 1468 w 1740"/>
                <a:gd name="T99" fmla="*/ 228 h 892"/>
                <a:gd name="T100" fmla="*/ 1530 w 1740"/>
                <a:gd name="T101" fmla="*/ 261 h 892"/>
                <a:gd name="T102" fmla="*/ 1602 w 1740"/>
                <a:gd name="T103" fmla="*/ 232 h 892"/>
                <a:gd name="T104" fmla="*/ 1696 w 1740"/>
                <a:gd name="T105" fmla="*/ 181 h 892"/>
                <a:gd name="T106" fmla="*/ 1458 w 1740"/>
                <a:gd name="T107" fmla="*/ 812 h 892"/>
                <a:gd name="T108" fmla="*/ 1432 w 1740"/>
                <a:gd name="T109" fmla="*/ 892 h 892"/>
                <a:gd name="T110" fmla="*/ 946 w 1740"/>
                <a:gd name="T111" fmla="*/ 861 h 892"/>
                <a:gd name="T112" fmla="*/ 313 w 1740"/>
                <a:gd name="T113" fmla="*/ 892 h 892"/>
                <a:gd name="T114" fmla="*/ 280 w 1740"/>
                <a:gd name="T115" fmla="*/ 816 h 892"/>
                <a:gd name="T116" fmla="*/ 457 w 1740"/>
                <a:gd name="T117" fmla="*/ 790 h 892"/>
                <a:gd name="T118" fmla="*/ 914 w 1740"/>
                <a:gd name="T119" fmla="*/ 772 h 892"/>
                <a:gd name="T120" fmla="*/ 1449 w 1740"/>
                <a:gd name="T121" fmla="*/ 806 h 8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40" h="892">
                  <a:moveTo>
                    <a:pt x="1729" y="178"/>
                  </a:moveTo>
                  <a:lnTo>
                    <a:pt x="1734" y="179"/>
                  </a:lnTo>
                  <a:lnTo>
                    <a:pt x="1735" y="180"/>
                  </a:lnTo>
                  <a:lnTo>
                    <a:pt x="1737" y="181"/>
                  </a:lnTo>
                  <a:lnTo>
                    <a:pt x="1738" y="182"/>
                  </a:lnTo>
                  <a:lnTo>
                    <a:pt x="1739" y="184"/>
                  </a:lnTo>
                  <a:lnTo>
                    <a:pt x="1740" y="186"/>
                  </a:lnTo>
                  <a:lnTo>
                    <a:pt x="1740" y="188"/>
                  </a:lnTo>
                  <a:lnTo>
                    <a:pt x="1740" y="192"/>
                  </a:lnTo>
                  <a:lnTo>
                    <a:pt x="1738" y="194"/>
                  </a:lnTo>
                  <a:lnTo>
                    <a:pt x="1718" y="230"/>
                  </a:lnTo>
                  <a:lnTo>
                    <a:pt x="1698" y="266"/>
                  </a:lnTo>
                  <a:lnTo>
                    <a:pt x="1678" y="302"/>
                  </a:lnTo>
                  <a:lnTo>
                    <a:pt x="1659" y="338"/>
                  </a:lnTo>
                  <a:lnTo>
                    <a:pt x="1641" y="375"/>
                  </a:lnTo>
                  <a:lnTo>
                    <a:pt x="1624" y="411"/>
                  </a:lnTo>
                  <a:lnTo>
                    <a:pt x="1607" y="447"/>
                  </a:lnTo>
                  <a:lnTo>
                    <a:pt x="1591" y="483"/>
                  </a:lnTo>
                  <a:lnTo>
                    <a:pt x="1561" y="552"/>
                  </a:lnTo>
                  <a:lnTo>
                    <a:pt x="1534" y="618"/>
                  </a:lnTo>
                  <a:lnTo>
                    <a:pt x="1510" y="680"/>
                  </a:lnTo>
                  <a:lnTo>
                    <a:pt x="1489" y="736"/>
                  </a:lnTo>
                  <a:lnTo>
                    <a:pt x="1488" y="739"/>
                  </a:lnTo>
                  <a:lnTo>
                    <a:pt x="1485" y="741"/>
                  </a:lnTo>
                  <a:lnTo>
                    <a:pt x="1482" y="743"/>
                  </a:lnTo>
                  <a:lnTo>
                    <a:pt x="1479" y="743"/>
                  </a:lnTo>
                  <a:lnTo>
                    <a:pt x="1457" y="741"/>
                  </a:lnTo>
                  <a:lnTo>
                    <a:pt x="1412" y="736"/>
                  </a:lnTo>
                  <a:lnTo>
                    <a:pt x="1385" y="733"/>
                  </a:lnTo>
                  <a:lnTo>
                    <a:pt x="1356" y="730"/>
                  </a:lnTo>
                  <a:lnTo>
                    <a:pt x="1324" y="727"/>
                  </a:lnTo>
                  <a:lnTo>
                    <a:pt x="1289" y="724"/>
                  </a:lnTo>
                  <a:lnTo>
                    <a:pt x="1214" y="718"/>
                  </a:lnTo>
                  <a:lnTo>
                    <a:pt x="1133" y="713"/>
                  </a:lnTo>
                  <a:lnTo>
                    <a:pt x="1090" y="711"/>
                  </a:lnTo>
                  <a:lnTo>
                    <a:pt x="1047" y="709"/>
                  </a:lnTo>
                  <a:lnTo>
                    <a:pt x="1003" y="708"/>
                  </a:lnTo>
                  <a:lnTo>
                    <a:pt x="959" y="707"/>
                  </a:lnTo>
                  <a:lnTo>
                    <a:pt x="915" y="706"/>
                  </a:lnTo>
                  <a:lnTo>
                    <a:pt x="871" y="706"/>
                  </a:lnTo>
                  <a:lnTo>
                    <a:pt x="826" y="706"/>
                  </a:lnTo>
                  <a:lnTo>
                    <a:pt x="782" y="707"/>
                  </a:lnTo>
                  <a:lnTo>
                    <a:pt x="738" y="708"/>
                  </a:lnTo>
                  <a:lnTo>
                    <a:pt x="693" y="709"/>
                  </a:lnTo>
                  <a:lnTo>
                    <a:pt x="607" y="713"/>
                  </a:lnTo>
                  <a:lnTo>
                    <a:pt x="526" y="718"/>
                  </a:lnTo>
                  <a:lnTo>
                    <a:pt x="488" y="721"/>
                  </a:lnTo>
                  <a:lnTo>
                    <a:pt x="451" y="724"/>
                  </a:lnTo>
                  <a:lnTo>
                    <a:pt x="384" y="730"/>
                  </a:lnTo>
                  <a:lnTo>
                    <a:pt x="328" y="736"/>
                  </a:lnTo>
                  <a:lnTo>
                    <a:pt x="284" y="741"/>
                  </a:lnTo>
                  <a:lnTo>
                    <a:pt x="263" y="743"/>
                  </a:lnTo>
                  <a:lnTo>
                    <a:pt x="259" y="743"/>
                  </a:lnTo>
                  <a:lnTo>
                    <a:pt x="257" y="742"/>
                  </a:lnTo>
                  <a:lnTo>
                    <a:pt x="255" y="741"/>
                  </a:lnTo>
                  <a:lnTo>
                    <a:pt x="254" y="740"/>
                  </a:lnTo>
                  <a:lnTo>
                    <a:pt x="253" y="739"/>
                  </a:lnTo>
                  <a:lnTo>
                    <a:pt x="251" y="736"/>
                  </a:lnTo>
                  <a:lnTo>
                    <a:pt x="230" y="680"/>
                  </a:lnTo>
                  <a:lnTo>
                    <a:pt x="206" y="618"/>
                  </a:lnTo>
                  <a:lnTo>
                    <a:pt x="179" y="552"/>
                  </a:lnTo>
                  <a:lnTo>
                    <a:pt x="164" y="518"/>
                  </a:lnTo>
                  <a:lnTo>
                    <a:pt x="149" y="483"/>
                  </a:lnTo>
                  <a:lnTo>
                    <a:pt x="116" y="411"/>
                  </a:lnTo>
                  <a:lnTo>
                    <a:pt x="99" y="374"/>
                  </a:lnTo>
                  <a:lnTo>
                    <a:pt x="81" y="338"/>
                  </a:lnTo>
                  <a:lnTo>
                    <a:pt x="62" y="302"/>
                  </a:lnTo>
                  <a:lnTo>
                    <a:pt x="42" y="266"/>
                  </a:lnTo>
                  <a:lnTo>
                    <a:pt x="22" y="230"/>
                  </a:lnTo>
                  <a:lnTo>
                    <a:pt x="2" y="194"/>
                  </a:lnTo>
                  <a:lnTo>
                    <a:pt x="1" y="191"/>
                  </a:lnTo>
                  <a:lnTo>
                    <a:pt x="0" y="189"/>
                  </a:lnTo>
                  <a:lnTo>
                    <a:pt x="0" y="186"/>
                  </a:lnTo>
                  <a:lnTo>
                    <a:pt x="2" y="183"/>
                  </a:lnTo>
                  <a:lnTo>
                    <a:pt x="3" y="181"/>
                  </a:lnTo>
                  <a:lnTo>
                    <a:pt x="6" y="179"/>
                  </a:lnTo>
                  <a:lnTo>
                    <a:pt x="8" y="178"/>
                  </a:lnTo>
                  <a:lnTo>
                    <a:pt x="11" y="178"/>
                  </a:lnTo>
                  <a:lnTo>
                    <a:pt x="19" y="178"/>
                  </a:lnTo>
                  <a:lnTo>
                    <a:pt x="28" y="179"/>
                  </a:lnTo>
                  <a:lnTo>
                    <a:pt x="36" y="180"/>
                  </a:lnTo>
                  <a:lnTo>
                    <a:pt x="44" y="181"/>
                  </a:lnTo>
                  <a:lnTo>
                    <a:pt x="52" y="183"/>
                  </a:lnTo>
                  <a:lnTo>
                    <a:pt x="59" y="186"/>
                  </a:lnTo>
                  <a:lnTo>
                    <a:pt x="74" y="191"/>
                  </a:lnTo>
                  <a:lnTo>
                    <a:pt x="82" y="194"/>
                  </a:lnTo>
                  <a:lnTo>
                    <a:pt x="89" y="198"/>
                  </a:lnTo>
                  <a:lnTo>
                    <a:pt x="102" y="205"/>
                  </a:lnTo>
                  <a:lnTo>
                    <a:pt x="115" y="214"/>
                  </a:lnTo>
                  <a:lnTo>
                    <a:pt x="121" y="218"/>
                  </a:lnTo>
                  <a:lnTo>
                    <a:pt x="127" y="223"/>
                  </a:lnTo>
                  <a:lnTo>
                    <a:pt x="133" y="227"/>
                  </a:lnTo>
                  <a:lnTo>
                    <a:pt x="138" y="232"/>
                  </a:lnTo>
                  <a:lnTo>
                    <a:pt x="149" y="241"/>
                  </a:lnTo>
                  <a:lnTo>
                    <a:pt x="167" y="259"/>
                  </a:lnTo>
                  <a:lnTo>
                    <a:pt x="174" y="267"/>
                  </a:lnTo>
                  <a:lnTo>
                    <a:pt x="181" y="275"/>
                  </a:lnTo>
                  <a:lnTo>
                    <a:pt x="190" y="287"/>
                  </a:lnTo>
                  <a:lnTo>
                    <a:pt x="194" y="280"/>
                  </a:lnTo>
                  <a:lnTo>
                    <a:pt x="199" y="273"/>
                  </a:lnTo>
                  <a:lnTo>
                    <a:pt x="204" y="267"/>
                  </a:lnTo>
                  <a:lnTo>
                    <a:pt x="210" y="261"/>
                  </a:lnTo>
                  <a:lnTo>
                    <a:pt x="216" y="256"/>
                  </a:lnTo>
                  <a:lnTo>
                    <a:pt x="222" y="251"/>
                  </a:lnTo>
                  <a:lnTo>
                    <a:pt x="228" y="246"/>
                  </a:lnTo>
                  <a:lnTo>
                    <a:pt x="235" y="242"/>
                  </a:lnTo>
                  <a:lnTo>
                    <a:pt x="242" y="238"/>
                  </a:lnTo>
                  <a:lnTo>
                    <a:pt x="249" y="235"/>
                  </a:lnTo>
                  <a:lnTo>
                    <a:pt x="264" y="230"/>
                  </a:lnTo>
                  <a:lnTo>
                    <a:pt x="272" y="228"/>
                  </a:lnTo>
                  <a:lnTo>
                    <a:pt x="280" y="227"/>
                  </a:lnTo>
                  <a:lnTo>
                    <a:pt x="288" y="226"/>
                  </a:lnTo>
                  <a:lnTo>
                    <a:pt x="296" y="226"/>
                  </a:lnTo>
                  <a:lnTo>
                    <a:pt x="309" y="226"/>
                  </a:lnTo>
                  <a:lnTo>
                    <a:pt x="316" y="227"/>
                  </a:lnTo>
                  <a:lnTo>
                    <a:pt x="322" y="228"/>
                  </a:lnTo>
                  <a:lnTo>
                    <a:pt x="335" y="232"/>
                  </a:lnTo>
                  <a:lnTo>
                    <a:pt x="346" y="236"/>
                  </a:lnTo>
                  <a:lnTo>
                    <a:pt x="358" y="242"/>
                  </a:lnTo>
                  <a:lnTo>
                    <a:pt x="368" y="249"/>
                  </a:lnTo>
                  <a:lnTo>
                    <a:pt x="374" y="253"/>
                  </a:lnTo>
                  <a:lnTo>
                    <a:pt x="378" y="257"/>
                  </a:lnTo>
                  <a:lnTo>
                    <a:pt x="388" y="266"/>
                  </a:lnTo>
                  <a:lnTo>
                    <a:pt x="389" y="268"/>
                  </a:lnTo>
                  <a:lnTo>
                    <a:pt x="390" y="270"/>
                  </a:lnTo>
                  <a:lnTo>
                    <a:pt x="390" y="272"/>
                  </a:lnTo>
                  <a:lnTo>
                    <a:pt x="390" y="274"/>
                  </a:lnTo>
                  <a:lnTo>
                    <a:pt x="390" y="276"/>
                  </a:lnTo>
                  <a:lnTo>
                    <a:pt x="389" y="278"/>
                  </a:lnTo>
                  <a:lnTo>
                    <a:pt x="388" y="280"/>
                  </a:lnTo>
                  <a:lnTo>
                    <a:pt x="387" y="281"/>
                  </a:lnTo>
                  <a:lnTo>
                    <a:pt x="380" y="288"/>
                  </a:lnTo>
                  <a:lnTo>
                    <a:pt x="374" y="295"/>
                  </a:lnTo>
                  <a:lnTo>
                    <a:pt x="368" y="303"/>
                  </a:lnTo>
                  <a:lnTo>
                    <a:pt x="362" y="310"/>
                  </a:lnTo>
                  <a:lnTo>
                    <a:pt x="357" y="318"/>
                  </a:lnTo>
                  <a:lnTo>
                    <a:pt x="353" y="326"/>
                  </a:lnTo>
                  <a:lnTo>
                    <a:pt x="349" y="334"/>
                  </a:lnTo>
                  <a:lnTo>
                    <a:pt x="345" y="342"/>
                  </a:lnTo>
                  <a:lnTo>
                    <a:pt x="342" y="351"/>
                  </a:lnTo>
                  <a:lnTo>
                    <a:pt x="339" y="360"/>
                  </a:lnTo>
                  <a:lnTo>
                    <a:pt x="337" y="368"/>
                  </a:lnTo>
                  <a:lnTo>
                    <a:pt x="335" y="377"/>
                  </a:lnTo>
                  <a:lnTo>
                    <a:pt x="334" y="386"/>
                  </a:lnTo>
                  <a:lnTo>
                    <a:pt x="333" y="395"/>
                  </a:lnTo>
                  <a:lnTo>
                    <a:pt x="333" y="404"/>
                  </a:lnTo>
                  <a:lnTo>
                    <a:pt x="333" y="414"/>
                  </a:lnTo>
                  <a:lnTo>
                    <a:pt x="334" y="422"/>
                  </a:lnTo>
                  <a:lnTo>
                    <a:pt x="335" y="430"/>
                  </a:lnTo>
                  <a:lnTo>
                    <a:pt x="337" y="438"/>
                  </a:lnTo>
                  <a:lnTo>
                    <a:pt x="339" y="446"/>
                  </a:lnTo>
                  <a:lnTo>
                    <a:pt x="342" y="454"/>
                  </a:lnTo>
                  <a:lnTo>
                    <a:pt x="344" y="462"/>
                  </a:lnTo>
                  <a:lnTo>
                    <a:pt x="348" y="470"/>
                  </a:lnTo>
                  <a:lnTo>
                    <a:pt x="351" y="477"/>
                  </a:lnTo>
                  <a:lnTo>
                    <a:pt x="355" y="484"/>
                  </a:lnTo>
                  <a:lnTo>
                    <a:pt x="360" y="491"/>
                  </a:lnTo>
                  <a:lnTo>
                    <a:pt x="369" y="504"/>
                  </a:lnTo>
                  <a:lnTo>
                    <a:pt x="380" y="516"/>
                  </a:lnTo>
                  <a:lnTo>
                    <a:pt x="386" y="522"/>
                  </a:lnTo>
                  <a:lnTo>
                    <a:pt x="392" y="527"/>
                  </a:lnTo>
                  <a:lnTo>
                    <a:pt x="405" y="538"/>
                  </a:lnTo>
                  <a:lnTo>
                    <a:pt x="412" y="542"/>
                  </a:lnTo>
                  <a:lnTo>
                    <a:pt x="419" y="547"/>
                  </a:lnTo>
                  <a:lnTo>
                    <a:pt x="434" y="555"/>
                  </a:lnTo>
                  <a:lnTo>
                    <a:pt x="442" y="558"/>
                  </a:lnTo>
                  <a:lnTo>
                    <a:pt x="450" y="561"/>
                  </a:lnTo>
                  <a:lnTo>
                    <a:pt x="466" y="566"/>
                  </a:lnTo>
                  <a:lnTo>
                    <a:pt x="475" y="569"/>
                  </a:lnTo>
                  <a:lnTo>
                    <a:pt x="484" y="570"/>
                  </a:lnTo>
                  <a:lnTo>
                    <a:pt x="492" y="572"/>
                  </a:lnTo>
                  <a:lnTo>
                    <a:pt x="501" y="573"/>
                  </a:lnTo>
                  <a:lnTo>
                    <a:pt x="519" y="573"/>
                  </a:lnTo>
                  <a:lnTo>
                    <a:pt x="534" y="573"/>
                  </a:lnTo>
                  <a:lnTo>
                    <a:pt x="544" y="572"/>
                  </a:lnTo>
                  <a:lnTo>
                    <a:pt x="553" y="571"/>
                  </a:lnTo>
                  <a:lnTo>
                    <a:pt x="563" y="569"/>
                  </a:lnTo>
                  <a:lnTo>
                    <a:pt x="572" y="567"/>
                  </a:lnTo>
                  <a:lnTo>
                    <a:pt x="581" y="564"/>
                  </a:lnTo>
                  <a:lnTo>
                    <a:pt x="590" y="561"/>
                  </a:lnTo>
                  <a:lnTo>
                    <a:pt x="598" y="558"/>
                  </a:lnTo>
                  <a:lnTo>
                    <a:pt x="607" y="554"/>
                  </a:lnTo>
                  <a:lnTo>
                    <a:pt x="615" y="550"/>
                  </a:lnTo>
                  <a:lnTo>
                    <a:pt x="623" y="546"/>
                  </a:lnTo>
                  <a:lnTo>
                    <a:pt x="630" y="541"/>
                  </a:lnTo>
                  <a:lnTo>
                    <a:pt x="637" y="536"/>
                  </a:lnTo>
                  <a:lnTo>
                    <a:pt x="645" y="531"/>
                  </a:lnTo>
                  <a:lnTo>
                    <a:pt x="651" y="525"/>
                  </a:lnTo>
                  <a:lnTo>
                    <a:pt x="658" y="519"/>
                  </a:lnTo>
                  <a:lnTo>
                    <a:pt x="664" y="513"/>
                  </a:lnTo>
                  <a:lnTo>
                    <a:pt x="670" y="507"/>
                  </a:lnTo>
                  <a:lnTo>
                    <a:pt x="675" y="500"/>
                  </a:lnTo>
                  <a:lnTo>
                    <a:pt x="685" y="486"/>
                  </a:lnTo>
                  <a:lnTo>
                    <a:pt x="690" y="479"/>
                  </a:lnTo>
                  <a:lnTo>
                    <a:pt x="694" y="471"/>
                  </a:lnTo>
                  <a:lnTo>
                    <a:pt x="701" y="455"/>
                  </a:lnTo>
                  <a:lnTo>
                    <a:pt x="703" y="447"/>
                  </a:lnTo>
                  <a:lnTo>
                    <a:pt x="706" y="439"/>
                  </a:lnTo>
                  <a:lnTo>
                    <a:pt x="708" y="430"/>
                  </a:lnTo>
                  <a:lnTo>
                    <a:pt x="709" y="422"/>
                  </a:lnTo>
                  <a:lnTo>
                    <a:pt x="710" y="413"/>
                  </a:lnTo>
                  <a:lnTo>
                    <a:pt x="711" y="405"/>
                  </a:lnTo>
                  <a:lnTo>
                    <a:pt x="711" y="396"/>
                  </a:lnTo>
                  <a:lnTo>
                    <a:pt x="711" y="387"/>
                  </a:lnTo>
                  <a:lnTo>
                    <a:pt x="709" y="375"/>
                  </a:lnTo>
                  <a:lnTo>
                    <a:pt x="707" y="364"/>
                  </a:lnTo>
                  <a:lnTo>
                    <a:pt x="704" y="352"/>
                  </a:lnTo>
                  <a:lnTo>
                    <a:pt x="701" y="341"/>
                  </a:lnTo>
                  <a:lnTo>
                    <a:pt x="696" y="331"/>
                  </a:lnTo>
                  <a:lnTo>
                    <a:pt x="691" y="320"/>
                  </a:lnTo>
                  <a:lnTo>
                    <a:pt x="685" y="310"/>
                  </a:lnTo>
                  <a:lnTo>
                    <a:pt x="678" y="301"/>
                  </a:lnTo>
                  <a:lnTo>
                    <a:pt x="674" y="296"/>
                  </a:lnTo>
                  <a:lnTo>
                    <a:pt x="670" y="292"/>
                  </a:lnTo>
                  <a:lnTo>
                    <a:pt x="662" y="283"/>
                  </a:lnTo>
                  <a:lnTo>
                    <a:pt x="653" y="275"/>
                  </a:lnTo>
                  <a:lnTo>
                    <a:pt x="649" y="271"/>
                  </a:lnTo>
                  <a:lnTo>
                    <a:pt x="644" y="267"/>
                  </a:lnTo>
                  <a:lnTo>
                    <a:pt x="634" y="260"/>
                  </a:lnTo>
                  <a:lnTo>
                    <a:pt x="624" y="254"/>
                  </a:lnTo>
                  <a:lnTo>
                    <a:pt x="612" y="248"/>
                  </a:lnTo>
                  <a:lnTo>
                    <a:pt x="601" y="243"/>
                  </a:lnTo>
                  <a:lnTo>
                    <a:pt x="599" y="242"/>
                  </a:lnTo>
                  <a:lnTo>
                    <a:pt x="597" y="240"/>
                  </a:lnTo>
                  <a:lnTo>
                    <a:pt x="596" y="239"/>
                  </a:lnTo>
                  <a:lnTo>
                    <a:pt x="595" y="237"/>
                  </a:lnTo>
                  <a:lnTo>
                    <a:pt x="594" y="234"/>
                  </a:lnTo>
                  <a:lnTo>
                    <a:pt x="594" y="232"/>
                  </a:lnTo>
                  <a:lnTo>
                    <a:pt x="595" y="230"/>
                  </a:lnTo>
                  <a:lnTo>
                    <a:pt x="595" y="228"/>
                  </a:lnTo>
                  <a:lnTo>
                    <a:pt x="600" y="221"/>
                  </a:lnTo>
                  <a:lnTo>
                    <a:pt x="604" y="214"/>
                  </a:lnTo>
                  <a:lnTo>
                    <a:pt x="610" y="207"/>
                  </a:lnTo>
                  <a:lnTo>
                    <a:pt x="615" y="201"/>
                  </a:lnTo>
                  <a:lnTo>
                    <a:pt x="621" y="196"/>
                  </a:lnTo>
                  <a:lnTo>
                    <a:pt x="627" y="190"/>
                  </a:lnTo>
                  <a:lnTo>
                    <a:pt x="634" y="186"/>
                  </a:lnTo>
                  <a:lnTo>
                    <a:pt x="641" y="181"/>
                  </a:lnTo>
                  <a:lnTo>
                    <a:pt x="648" y="177"/>
                  </a:lnTo>
                  <a:lnTo>
                    <a:pt x="655" y="174"/>
                  </a:lnTo>
                  <a:lnTo>
                    <a:pt x="663" y="171"/>
                  </a:lnTo>
                  <a:lnTo>
                    <a:pt x="670" y="169"/>
                  </a:lnTo>
                  <a:lnTo>
                    <a:pt x="678" y="167"/>
                  </a:lnTo>
                  <a:lnTo>
                    <a:pt x="686" y="165"/>
                  </a:lnTo>
                  <a:lnTo>
                    <a:pt x="695" y="164"/>
                  </a:lnTo>
                  <a:lnTo>
                    <a:pt x="703" y="164"/>
                  </a:lnTo>
                  <a:lnTo>
                    <a:pt x="713" y="165"/>
                  </a:lnTo>
                  <a:lnTo>
                    <a:pt x="722" y="166"/>
                  </a:lnTo>
                  <a:lnTo>
                    <a:pt x="733" y="168"/>
                  </a:lnTo>
                  <a:lnTo>
                    <a:pt x="742" y="170"/>
                  </a:lnTo>
                  <a:lnTo>
                    <a:pt x="751" y="174"/>
                  </a:lnTo>
                  <a:lnTo>
                    <a:pt x="760" y="178"/>
                  </a:lnTo>
                  <a:lnTo>
                    <a:pt x="768" y="182"/>
                  </a:lnTo>
                  <a:lnTo>
                    <a:pt x="776" y="188"/>
                  </a:lnTo>
                  <a:lnTo>
                    <a:pt x="777" y="173"/>
                  </a:lnTo>
                  <a:lnTo>
                    <a:pt x="778" y="163"/>
                  </a:lnTo>
                  <a:lnTo>
                    <a:pt x="779" y="152"/>
                  </a:lnTo>
                  <a:lnTo>
                    <a:pt x="781" y="140"/>
                  </a:lnTo>
                  <a:lnTo>
                    <a:pt x="783" y="127"/>
                  </a:lnTo>
                  <a:lnTo>
                    <a:pt x="786" y="114"/>
                  </a:lnTo>
                  <a:lnTo>
                    <a:pt x="790" y="100"/>
                  </a:lnTo>
                  <a:lnTo>
                    <a:pt x="795" y="86"/>
                  </a:lnTo>
                  <a:lnTo>
                    <a:pt x="798" y="79"/>
                  </a:lnTo>
                  <a:lnTo>
                    <a:pt x="801" y="72"/>
                  </a:lnTo>
                  <a:lnTo>
                    <a:pt x="805" y="66"/>
                  </a:lnTo>
                  <a:lnTo>
                    <a:pt x="808" y="59"/>
                  </a:lnTo>
                  <a:lnTo>
                    <a:pt x="812" y="52"/>
                  </a:lnTo>
                  <a:lnTo>
                    <a:pt x="815" y="49"/>
                  </a:lnTo>
                  <a:lnTo>
                    <a:pt x="817" y="46"/>
                  </a:lnTo>
                  <a:lnTo>
                    <a:pt x="822" y="39"/>
                  </a:lnTo>
                  <a:lnTo>
                    <a:pt x="827" y="33"/>
                  </a:lnTo>
                  <a:lnTo>
                    <a:pt x="832" y="27"/>
                  </a:lnTo>
                  <a:lnTo>
                    <a:pt x="838" y="21"/>
                  </a:lnTo>
                  <a:lnTo>
                    <a:pt x="844" y="16"/>
                  </a:lnTo>
                  <a:lnTo>
                    <a:pt x="851" y="11"/>
                  </a:lnTo>
                  <a:lnTo>
                    <a:pt x="858" y="6"/>
                  </a:lnTo>
                  <a:lnTo>
                    <a:pt x="865" y="1"/>
                  </a:lnTo>
                  <a:lnTo>
                    <a:pt x="868" y="0"/>
                  </a:lnTo>
                  <a:lnTo>
                    <a:pt x="871" y="0"/>
                  </a:lnTo>
                  <a:lnTo>
                    <a:pt x="873" y="0"/>
                  </a:lnTo>
                  <a:lnTo>
                    <a:pt x="876" y="1"/>
                  </a:lnTo>
                  <a:lnTo>
                    <a:pt x="883" y="6"/>
                  </a:lnTo>
                  <a:lnTo>
                    <a:pt x="891" y="11"/>
                  </a:lnTo>
                  <a:lnTo>
                    <a:pt x="897" y="16"/>
                  </a:lnTo>
                  <a:lnTo>
                    <a:pt x="903" y="21"/>
                  </a:lnTo>
                  <a:lnTo>
                    <a:pt x="909" y="27"/>
                  </a:lnTo>
                  <a:lnTo>
                    <a:pt x="915" y="33"/>
                  </a:lnTo>
                  <a:lnTo>
                    <a:pt x="920" y="39"/>
                  </a:lnTo>
                  <a:lnTo>
                    <a:pt x="924" y="46"/>
                  </a:lnTo>
                  <a:lnTo>
                    <a:pt x="933" y="59"/>
                  </a:lnTo>
                  <a:lnTo>
                    <a:pt x="940" y="72"/>
                  </a:lnTo>
                  <a:lnTo>
                    <a:pt x="946" y="86"/>
                  </a:lnTo>
                  <a:lnTo>
                    <a:pt x="951" y="100"/>
                  </a:lnTo>
                  <a:lnTo>
                    <a:pt x="955" y="114"/>
                  </a:lnTo>
                  <a:lnTo>
                    <a:pt x="958" y="127"/>
                  </a:lnTo>
                  <a:lnTo>
                    <a:pt x="961" y="140"/>
                  </a:lnTo>
                  <a:lnTo>
                    <a:pt x="962" y="152"/>
                  </a:lnTo>
                  <a:lnTo>
                    <a:pt x="964" y="173"/>
                  </a:lnTo>
                  <a:lnTo>
                    <a:pt x="965" y="188"/>
                  </a:lnTo>
                  <a:lnTo>
                    <a:pt x="973" y="182"/>
                  </a:lnTo>
                  <a:lnTo>
                    <a:pt x="981" y="178"/>
                  </a:lnTo>
                  <a:lnTo>
                    <a:pt x="990" y="174"/>
                  </a:lnTo>
                  <a:lnTo>
                    <a:pt x="999" y="170"/>
                  </a:lnTo>
                  <a:lnTo>
                    <a:pt x="1008" y="168"/>
                  </a:lnTo>
                  <a:lnTo>
                    <a:pt x="1018" y="166"/>
                  </a:lnTo>
                  <a:lnTo>
                    <a:pt x="1027" y="165"/>
                  </a:lnTo>
                  <a:lnTo>
                    <a:pt x="1037" y="164"/>
                  </a:lnTo>
                  <a:lnTo>
                    <a:pt x="1046" y="164"/>
                  </a:lnTo>
                  <a:lnTo>
                    <a:pt x="1054" y="165"/>
                  </a:lnTo>
                  <a:lnTo>
                    <a:pt x="1058" y="166"/>
                  </a:lnTo>
                  <a:lnTo>
                    <a:pt x="1062" y="167"/>
                  </a:lnTo>
                  <a:lnTo>
                    <a:pt x="1070" y="169"/>
                  </a:lnTo>
                  <a:lnTo>
                    <a:pt x="1078" y="171"/>
                  </a:lnTo>
                  <a:lnTo>
                    <a:pt x="1085" y="174"/>
                  </a:lnTo>
                  <a:lnTo>
                    <a:pt x="1093" y="177"/>
                  </a:lnTo>
                  <a:lnTo>
                    <a:pt x="1100" y="181"/>
                  </a:lnTo>
                  <a:lnTo>
                    <a:pt x="1107" y="186"/>
                  </a:lnTo>
                  <a:lnTo>
                    <a:pt x="1113" y="190"/>
                  </a:lnTo>
                  <a:lnTo>
                    <a:pt x="1119" y="196"/>
                  </a:lnTo>
                  <a:lnTo>
                    <a:pt x="1125" y="201"/>
                  </a:lnTo>
                  <a:lnTo>
                    <a:pt x="1131" y="207"/>
                  </a:lnTo>
                  <a:lnTo>
                    <a:pt x="1136" y="214"/>
                  </a:lnTo>
                  <a:lnTo>
                    <a:pt x="1141" y="221"/>
                  </a:lnTo>
                  <a:lnTo>
                    <a:pt x="1145" y="228"/>
                  </a:lnTo>
                  <a:lnTo>
                    <a:pt x="1146" y="230"/>
                  </a:lnTo>
                  <a:lnTo>
                    <a:pt x="1146" y="232"/>
                  </a:lnTo>
                  <a:lnTo>
                    <a:pt x="1146" y="234"/>
                  </a:lnTo>
                  <a:lnTo>
                    <a:pt x="1146" y="237"/>
                  </a:lnTo>
                  <a:lnTo>
                    <a:pt x="1145" y="239"/>
                  </a:lnTo>
                  <a:lnTo>
                    <a:pt x="1143" y="240"/>
                  </a:lnTo>
                  <a:lnTo>
                    <a:pt x="1141" y="242"/>
                  </a:lnTo>
                  <a:lnTo>
                    <a:pt x="1139" y="243"/>
                  </a:lnTo>
                  <a:lnTo>
                    <a:pt x="1134" y="245"/>
                  </a:lnTo>
                  <a:lnTo>
                    <a:pt x="1128" y="248"/>
                  </a:lnTo>
                  <a:lnTo>
                    <a:pt x="1117" y="254"/>
                  </a:lnTo>
                  <a:lnTo>
                    <a:pt x="1106" y="260"/>
                  </a:lnTo>
                  <a:lnTo>
                    <a:pt x="1096" y="267"/>
                  </a:lnTo>
                  <a:lnTo>
                    <a:pt x="1087" y="275"/>
                  </a:lnTo>
                  <a:lnTo>
                    <a:pt x="1082" y="279"/>
                  </a:lnTo>
                  <a:lnTo>
                    <a:pt x="1078" y="283"/>
                  </a:lnTo>
                  <a:lnTo>
                    <a:pt x="1070" y="292"/>
                  </a:lnTo>
                  <a:lnTo>
                    <a:pt x="1062" y="301"/>
                  </a:lnTo>
                  <a:lnTo>
                    <a:pt x="1056" y="310"/>
                  </a:lnTo>
                  <a:lnTo>
                    <a:pt x="1053" y="315"/>
                  </a:lnTo>
                  <a:lnTo>
                    <a:pt x="1050" y="320"/>
                  </a:lnTo>
                  <a:lnTo>
                    <a:pt x="1044" y="331"/>
                  </a:lnTo>
                  <a:lnTo>
                    <a:pt x="1042" y="336"/>
                  </a:lnTo>
                  <a:lnTo>
                    <a:pt x="1040" y="341"/>
                  </a:lnTo>
                  <a:lnTo>
                    <a:pt x="1038" y="347"/>
                  </a:lnTo>
                  <a:lnTo>
                    <a:pt x="1036" y="352"/>
                  </a:lnTo>
                  <a:lnTo>
                    <a:pt x="1033" y="364"/>
                  </a:lnTo>
                  <a:lnTo>
                    <a:pt x="1031" y="375"/>
                  </a:lnTo>
                  <a:lnTo>
                    <a:pt x="1030" y="387"/>
                  </a:lnTo>
                  <a:lnTo>
                    <a:pt x="1029" y="396"/>
                  </a:lnTo>
                  <a:lnTo>
                    <a:pt x="1029" y="405"/>
                  </a:lnTo>
                  <a:lnTo>
                    <a:pt x="1030" y="413"/>
                  </a:lnTo>
                  <a:lnTo>
                    <a:pt x="1031" y="422"/>
                  </a:lnTo>
                  <a:lnTo>
                    <a:pt x="1032" y="430"/>
                  </a:lnTo>
                  <a:lnTo>
                    <a:pt x="1034" y="439"/>
                  </a:lnTo>
                  <a:lnTo>
                    <a:pt x="1037" y="447"/>
                  </a:lnTo>
                  <a:lnTo>
                    <a:pt x="1040" y="455"/>
                  </a:lnTo>
                  <a:lnTo>
                    <a:pt x="1043" y="464"/>
                  </a:lnTo>
                  <a:lnTo>
                    <a:pt x="1047" y="471"/>
                  </a:lnTo>
                  <a:lnTo>
                    <a:pt x="1051" y="479"/>
                  </a:lnTo>
                  <a:lnTo>
                    <a:pt x="1055" y="486"/>
                  </a:lnTo>
                  <a:lnTo>
                    <a:pt x="1060" y="493"/>
                  </a:lnTo>
                  <a:lnTo>
                    <a:pt x="1065" y="500"/>
                  </a:lnTo>
                  <a:lnTo>
                    <a:pt x="1070" y="507"/>
                  </a:lnTo>
                  <a:lnTo>
                    <a:pt x="1076" y="513"/>
                  </a:lnTo>
                  <a:lnTo>
                    <a:pt x="1082" y="519"/>
                  </a:lnTo>
                  <a:lnTo>
                    <a:pt x="1089" y="525"/>
                  </a:lnTo>
                  <a:lnTo>
                    <a:pt x="1103" y="536"/>
                  </a:lnTo>
                  <a:lnTo>
                    <a:pt x="1110" y="541"/>
                  </a:lnTo>
                  <a:lnTo>
                    <a:pt x="1118" y="546"/>
                  </a:lnTo>
                  <a:lnTo>
                    <a:pt x="1134" y="554"/>
                  </a:lnTo>
                  <a:lnTo>
                    <a:pt x="1142" y="558"/>
                  </a:lnTo>
                  <a:lnTo>
                    <a:pt x="1151" y="561"/>
                  </a:lnTo>
                  <a:lnTo>
                    <a:pt x="1159" y="564"/>
                  </a:lnTo>
                  <a:lnTo>
                    <a:pt x="1168" y="567"/>
                  </a:lnTo>
                  <a:lnTo>
                    <a:pt x="1178" y="569"/>
                  </a:lnTo>
                  <a:lnTo>
                    <a:pt x="1187" y="571"/>
                  </a:lnTo>
                  <a:lnTo>
                    <a:pt x="1196" y="572"/>
                  </a:lnTo>
                  <a:lnTo>
                    <a:pt x="1206" y="573"/>
                  </a:lnTo>
                  <a:lnTo>
                    <a:pt x="1221" y="573"/>
                  </a:lnTo>
                  <a:lnTo>
                    <a:pt x="1239" y="573"/>
                  </a:lnTo>
                  <a:lnTo>
                    <a:pt x="1248" y="572"/>
                  </a:lnTo>
                  <a:lnTo>
                    <a:pt x="1257" y="570"/>
                  </a:lnTo>
                  <a:lnTo>
                    <a:pt x="1274" y="566"/>
                  </a:lnTo>
                  <a:lnTo>
                    <a:pt x="1290" y="561"/>
                  </a:lnTo>
                  <a:lnTo>
                    <a:pt x="1306" y="555"/>
                  </a:lnTo>
                  <a:lnTo>
                    <a:pt x="1314" y="551"/>
                  </a:lnTo>
                  <a:lnTo>
                    <a:pt x="1321" y="547"/>
                  </a:lnTo>
                  <a:lnTo>
                    <a:pt x="1328" y="542"/>
                  </a:lnTo>
                  <a:lnTo>
                    <a:pt x="1335" y="538"/>
                  </a:lnTo>
                  <a:lnTo>
                    <a:pt x="1342" y="533"/>
                  </a:lnTo>
                  <a:lnTo>
                    <a:pt x="1348" y="527"/>
                  </a:lnTo>
                  <a:lnTo>
                    <a:pt x="1354" y="522"/>
                  </a:lnTo>
                  <a:lnTo>
                    <a:pt x="1360" y="516"/>
                  </a:lnTo>
                  <a:lnTo>
                    <a:pt x="1366" y="510"/>
                  </a:lnTo>
                  <a:lnTo>
                    <a:pt x="1371" y="504"/>
                  </a:lnTo>
                  <a:lnTo>
                    <a:pt x="1376" y="498"/>
                  </a:lnTo>
                  <a:lnTo>
                    <a:pt x="1381" y="491"/>
                  </a:lnTo>
                  <a:lnTo>
                    <a:pt x="1385" y="484"/>
                  </a:lnTo>
                  <a:lnTo>
                    <a:pt x="1389" y="477"/>
                  </a:lnTo>
                  <a:lnTo>
                    <a:pt x="1393" y="470"/>
                  </a:lnTo>
                  <a:lnTo>
                    <a:pt x="1396" y="462"/>
                  </a:lnTo>
                  <a:lnTo>
                    <a:pt x="1401" y="446"/>
                  </a:lnTo>
                  <a:lnTo>
                    <a:pt x="1403" y="438"/>
                  </a:lnTo>
                  <a:lnTo>
                    <a:pt x="1405" y="430"/>
                  </a:lnTo>
                  <a:lnTo>
                    <a:pt x="1406" y="422"/>
                  </a:lnTo>
                  <a:lnTo>
                    <a:pt x="1407" y="414"/>
                  </a:lnTo>
                  <a:lnTo>
                    <a:pt x="1407" y="404"/>
                  </a:lnTo>
                  <a:lnTo>
                    <a:pt x="1407" y="395"/>
                  </a:lnTo>
                  <a:lnTo>
                    <a:pt x="1406" y="386"/>
                  </a:lnTo>
                  <a:lnTo>
                    <a:pt x="1405" y="377"/>
                  </a:lnTo>
                  <a:lnTo>
                    <a:pt x="1404" y="368"/>
                  </a:lnTo>
                  <a:lnTo>
                    <a:pt x="1401" y="360"/>
                  </a:lnTo>
                  <a:lnTo>
                    <a:pt x="1399" y="351"/>
                  </a:lnTo>
                  <a:lnTo>
                    <a:pt x="1395" y="342"/>
                  </a:lnTo>
                  <a:lnTo>
                    <a:pt x="1392" y="334"/>
                  </a:lnTo>
                  <a:lnTo>
                    <a:pt x="1388" y="326"/>
                  </a:lnTo>
                  <a:lnTo>
                    <a:pt x="1383" y="318"/>
                  </a:lnTo>
                  <a:lnTo>
                    <a:pt x="1378" y="310"/>
                  </a:lnTo>
                  <a:lnTo>
                    <a:pt x="1372" y="303"/>
                  </a:lnTo>
                  <a:lnTo>
                    <a:pt x="1366" y="295"/>
                  </a:lnTo>
                  <a:lnTo>
                    <a:pt x="1360" y="288"/>
                  </a:lnTo>
                  <a:lnTo>
                    <a:pt x="1353" y="281"/>
                  </a:lnTo>
                  <a:lnTo>
                    <a:pt x="1352" y="280"/>
                  </a:lnTo>
                  <a:lnTo>
                    <a:pt x="1351" y="278"/>
                  </a:lnTo>
                  <a:lnTo>
                    <a:pt x="1350" y="276"/>
                  </a:lnTo>
                  <a:lnTo>
                    <a:pt x="1350" y="274"/>
                  </a:lnTo>
                  <a:lnTo>
                    <a:pt x="1350" y="270"/>
                  </a:lnTo>
                  <a:lnTo>
                    <a:pt x="1353" y="266"/>
                  </a:lnTo>
                  <a:lnTo>
                    <a:pt x="1357" y="262"/>
                  </a:lnTo>
                  <a:lnTo>
                    <a:pt x="1362" y="257"/>
                  </a:lnTo>
                  <a:lnTo>
                    <a:pt x="1367" y="253"/>
                  </a:lnTo>
                  <a:lnTo>
                    <a:pt x="1372" y="249"/>
                  </a:lnTo>
                  <a:lnTo>
                    <a:pt x="1383" y="242"/>
                  </a:lnTo>
                  <a:lnTo>
                    <a:pt x="1388" y="239"/>
                  </a:lnTo>
                  <a:lnTo>
                    <a:pt x="1394" y="236"/>
                  </a:lnTo>
                  <a:lnTo>
                    <a:pt x="1400" y="234"/>
                  </a:lnTo>
                  <a:lnTo>
                    <a:pt x="1406" y="232"/>
                  </a:lnTo>
                  <a:lnTo>
                    <a:pt x="1412" y="230"/>
                  </a:lnTo>
                  <a:lnTo>
                    <a:pt x="1418" y="228"/>
                  </a:lnTo>
                  <a:lnTo>
                    <a:pt x="1424" y="227"/>
                  </a:lnTo>
                  <a:lnTo>
                    <a:pt x="1431" y="226"/>
                  </a:lnTo>
                  <a:lnTo>
                    <a:pt x="1444" y="226"/>
                  </a:lnTo>
                  <a:lnTo>
                    <a:pt x="1452" y="226"/>
                  </a:lnTo>
                  <a:lnTo>
                    <a:pt x="1460" y="227"/>
                  </a:lnTo>
                  <a:lnTo>
                    <a:pt x="1468" y="228"/>
                  </a:lnTo>
                  <a:lnTo>
                    <a:pt x="1476" y="230"/>
                  </a:lnTo>
                  <a:lnTo>
                    <a:pt x="1483" y="232"/>
                  </a:lnTo>
                  <a:lnTo>
                    <a:pt x="1491" y="235"/>
                  </a:lnTo>
                  <a:lnTo>
                    <a:pt x="1498" y="238"/>
                  </a:lnTo>
                  <a:lnTo>
                    <a:pt x="1505" y="242"/>
                  </a:lnTo>
                  <a:lnTo>
                    <a:pt x="1512" y="246"/>
                  </a:lnTo>
                  <a:lnTo>
                    <a:pt x="1518" y="251"/>
                  </a:lnTo>
                  <a:lnTo>
                    <a:pt x="1525" y="256"/>
                  </a:lnTo>
                  <a:lnTo>
                    <a:pt x="1530" y="261"/>
                  </a:lnTo>
                  <a:lnTo>
                    <a:pt x="1536" y="267"/>
                  </a:lnTo>
                  <a:lnTo>
                    <a:pt x="1541" y="273"/>
                  </a:lnTo>
                  <a:lnTo>
                    <a:pt x="1546" y="280"/>
                  </a:lnTo>
                  <a:lnTo>
                    <a:pt x="1550" y="287"/>
                  </a:lnTo>
                  <a:lnTo>
                    <a:pt x="1560" y="275"/>
                  </a:lnTo>
                  <a:lnTo>
                    <a:pt x="1574" y="259"/>
                  </a:lnTo>
                  <a:lnTo>
                    <a:pt x="1582" y="250"/>
                  </a:lnTo>
                  <a:lnTo>
                    <a:pt x="1591" y="241"/>
                  </a:lnTo>
                  <a:lnTo>
                    <a:pt x="1602" y="232"/>
                  </a:lnTo>
                  <a:lnTo>
                    <a:pt x="1613" y="223"/>
                  </a:lnTo>
                  <a:lnTo>
                    <a:pt x="1625" y="214"/>
                  </a:lnTo>
                  <a:lnTo>
                    <a:pt x="1638" y="205"/>
                  </a:lnTo>
                  <a:lnTo>
                    <a:pt x="1651" y="198"/>
                  </a:lnTo>
                  <a:lnTo>
                    <a:pt x="1666" y="191"/>
                  </a:lnTo>
                  <a:lnTo>
                    <a:pt x="1673" y="188"/>
                  </a:lnTo>
                  <a:lnTo>
                    <a:pt x="1681" y="186"/>
                  </a:lnTo>
                  <a:lnTo>
                    <a:pt x="1688" y="183"/>
                  </a:lnTo>
                  <a:lnTo>
                    <a:pt x="1696" y="181"/>
                  </a:lnTo>
                  <a:lnTo>
                    <a:pt x="1704" y="180"/>
                  </a:lnTo>
                  <a:lnTo>
                    <a:pt x="1712" y="179"/>
                  </a:lnTo>
                  <a:lnTo>
                    <a:pt x="1720" y="178"/>
                  </a:lnTo>
                  <a:lnTo>
                    <a:pt x="1729" y="178"/>
                  </a:lnTo>
                  <a:close/>
                  <a:moveTo>
                    <a:pt x="1450" y="807"/>
                  </a:moveTo>
                  <a:lnTo>
                    <a:pt x="1453" y="807"/>
                  </a:lnTo>
                  <a:lnTo>
                    <a:pt x="1455" y="808"/>
                  </a:lnTo>
                  <a:lnTo>
                    <a:pt x="1457" y="810"/>
                  </a:lnTo>
                  <a:lnTo>
                    <a:pt x="1458" y="812"/>
                  </a:lnTo>
                  <a:lnTo>
                    <a:pt x="1459" y="814"/>
                  </a:lnTo>
                  <a:lnTo>
                    <a:pt x="1460" y="816"/>
                  </a:lnTo>
                  <a:lnTo>
                    <a:pt x="1460" y="819"/>
                  </a:lnTo>
                  <a:lnTo>
                    <a:pt x="1459" y="821"/>
                  </a:lnTo>
                  <a:lnTo>
                    <a:pt x="1439" y="885"/>
                  </a:lnTo>
                  <a:lnTo>
                    <a:pt x="1438" y="886"/>
                  </a:lnTo>
                  <a:lnTo>
                    <a:pt x="1437" y="888"/>
                  </a:lnTo>
                  <a:lnTo>
                    <a:pt x="1435" y="890"/>
                  </a:lnTo>
                  <a:lnTo>
                    <a:pt x="1432" y="892"/>
                  </a:lnTo>
                  <a:lnTo>
                    <a:pt x="1428" y="892"/>
                  </a:lnTo>
                  <a:lnTo>
                    <a:pt x="1374" y="887"/>
                  </a:lnTo>
                  <a:lnTo>
                    <a:pt x="1313" y="881"/>
                  </a:lnTo>
                  <a:lnTo>
                    <a:pt x="1245" y="876"/>
                  </a:lnTo>
                  <a:lnTo>
                    <a:pt x="1174" y="871"/>
                  </a:lnTo>
                  <a:lnTo>
                    <a:pt x="1099" y="867"/>
                  </a:lnTo>
                  <a:lnTo>
                    <a:pt x="1023" y="863"/>
                  </a:lnTo>
                  <a:lnTo>
                    <a:pt x="984" y="862"/>
                  </a:lnTo>
                  <a:lnTo>
                    <a:pt x="946" y="861"/>
                  </a:lnTo>
                  <a:lnTo>
                    <a:pt x="871" y="861"/>
                  </a:lnTo>
                  <a:lnTo>
                    <a:pt x="795" y="861"/>
                  </a:lnTo>
                  <a:lnTo>
                    <a:pt x="718" y="863"/>
                  </a:lnTo>
                  <a:lnTo>
                    <a:pt x="641" y="867"/>
                  </a:lnTo>
                  <a:lnTo>
                    <a:pt x="567" y="871"/>
                  </a:lnTo>
                  <a:lnTo>
                    <a:pt x="495" y="876"/>
                  </a:lnTo>
                  <a:lnTo>
                    <a:pt x="428" y="881"/>
                  </a:lnTo>
                  <a:lnTo>
                    <a:pt x="367" y="887"/>
                  </a:lnTo>
                  <a:lnTo>
                    <a:pt x="313" y="892"/>
                  </a:lnTo>
                  <a:lnTo>
                    <a:pt x="309" y="892"/>
                  </a:lnTo>
                  <a:lnTo>
                    <a:pt x="307" y="891"/>
                  </a:lnTo>
                  <a:lnTo>
                    <a:pt x="306" y="890"/>
                  </a:lnTo>
                  <a:lnTo>
                    <a:pt x="303" y="888"/>
                  </a:lnTo>
                  <a:lnTo>
                    <a:pt x="302" y="885"/>
                  </a:lnTo>
                  <a:lnTo>
                    <a:pt x="292" y="854"/>
                  </a:lnTo>
                  <a:lnTo>
                    <a:pt x="281" y="821"/>
                  </a:lnTo>
                  <a:lnTo>
                    <a:pt x="280" y="819"/>
                  </a:lnTo>
                  <a:lnTo>
                    <a:pt x="280" y="816"/>
                  </a:lnTo>
                  <a:lnTo>
                    <a:pt x="282" y="812"/>
                  </a:lnTo>
                  <a:lnTo>
                    <a:pt x="283" y="810"/>
                  </a:lnTo>
                  <a:lnTo>
                    <a:pt x="285" y="808"/>
                  </a:lnTo>
                  <a:lnTo>
                    <a:pt x="287" y="807"/>
                  </a:lnTo>
                  <a:lnTo>
                    <a:pt x="290" y="807"/>
                  </a:lnTo>
                  <a:lnTo>
                    <a:pt x="292" y="806"/>
                  </a:lnTo>
                  <a:lnTo>
                    <a:pt x="335" y="802"/>
                  </a:lnTo>
                  <a:lnTo>
                    <a:pt x="391" y="796"/>
                  </a:lnTo>
                  <a:lnTo>
                    <a:pt x="457" y="790"/>
                  </a:lnTo>
                  <a:lnTo>
                    <a:pt x="531" y="785"/>
                  </a:lnTo>
                  <a:lnTo>
                    <a:pt x="611" y="780"/>
                  </a:lnTo>
                  <a:lnTo>
                    <a:pt x="653" y="778"/>
                  </a:lnTo>
                  <a:lnTo>
                    <a:pt x="696" y="776"/>
                  </a:lnTo>
                  <a:lnTo>
                    <a:pt x="740" y="774"/>
                  </a:lnTo>
                  <a:lnTo>
                    <a:pt x="783" y="773"/>
                  </a:lnTo>
                  <a:lnTo>
                    <a:pt x="827" y="772"/>
                  </a:lnTo>
                  <a:lnTo>
                    <a:pt x="871" y="772"/>
                  </a:lnTo>
                  <a:lnTo>
                    <a:pt x="914" y="772"/>
                  </a:lnTo>
                  <a:lnTo>
                    <a:pt x="958" y="773"/>
                  </a:lnTo>
                  <a:lnTo>
                    <a:pt x="1001" y="774"/>
                  </a:lnTo>
                  <a:lnTo>
                    <a:pt x="1045" y="776"/>
                  </a:lnTo>
                  <a:lnTo>
                    <a:pt x="1129" y="780"/>
                  </a:lnTo>
                  <a:lnTo>
                    <a:pt x="1209" y="785"/>
                  </a:lnTo>
                  <a:lnTo>
                    <a:pt x="1283" y="790"/>
                  </a:lnTo>
                  <a:lnTo>
                    <a:pt x="1349" y="796"/>
                  </a:lnTo>
                  <a:lnTo>
                    <a:pt x="1405" y="802"/>
                  </a:lnTo>
                  <a:lnTo>
                    <a:pt x="1449" y="806"/>
                  </a:lnTo>
                  <a:lnTo>
                    <a:pt x="1450" y="807"/>
                  </a:lnTo>
                  <a:close/>
                </a:path>
              </a:pathLst>
            </a:custGeom>
            <a:solidFill>
              <a:srgbClr val="FD9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0" name="Freeform 7"/>
            <p:cNvSpPr>
              <a:spLocks noEditPoints="1"/>
            </p:cNvSpPr>
            <p:nvPr userDrawn="1"/>
          </p:nvSpPr>
          <p:spPr bwMode="auto">
            <a:xfrm>
              <a:off x="4287838" y="2951163"/>
              <a:ext cx="6440488" cy="1217612"/>
            </a:xfrm>
            <a:custGeom>
              <a:avLst/>
              <a:gdLst>
                <a:gd name="T0" fmla="*/ 3533 w 4057"/>
                <a:gd name="T1" fmla="*/ 11 h 767"/>
                <a:gd name="T2" fmla="*/ 3620 w 4057"/>
                <a:gd name="T3" fmla="*/ 37 h 767"/>
                <a:gd name="T4" fmla="*/ 4033 w 4057"/>
                <a:gd name="T5" fmla="*/ 15 h 767"/>
                <a:gd name="T6" fmla="*/ 4055 w 4057"/>
                <a:gd name="T7" fmla="*/ 724 h 767"/>
                <a:gd name="T8" fmla="*/ 4042 w 4057"/>
                <a:gd name="T9" fmla="*/ 755 h 767"/>
                <a:gd name="T10" fmla="*/ 3620 w 4057"/>
                <a:gd name="T11" fmla="*/ 736 h 767"/>
                <a:gd name="T12" fmla="*/ 3528 w 4057"/>
                <a:gd name="T13" fmla="*/ 756 h 767"/>
                <a:gd name="T14" fmla="*/ 330 w 4057"/>
                <a:gd name="T15" fmla="*/ 10 h 767"/>
                <a:gd name="T16" fmla="*/ 367 w 4057"/>
                <a:gd name="T17" fmla="*/ 4 h 767"/>
                <a:gd name="T18" fmla="*/ 693 w 4057"/>
                <a:gd name="T19" fmla="*/ 754 h 767"/>
                <a:gd name="T20" fmla="*/ 593 w 4057"/>
                <a:gd name="T21" fmla="*/ 744 h 767"/>
                <a:gd name="T22" fmla="*/ 21 w 4057"/>
                <a:gd name="T23" fmla="*/ 757 h 767"/>
                <a:gd name="T24" fmla="*/ 2 w 4057"/>
                <a:gd name="T25" fmla="*/ 729 h 767"/>
                <a:gd name="T26" fmla="*/ 827 w 4057"/>
                <a:gd name="T27" fmla="*/ 13 h 767"/>
                <a:gd name="T28" fmla="*/ 1180 w 4057"/>
                <a:gd name="T29" fmla="*/ 34 h 767"/>
                <a:gd name="T30" fmla="*/ 1281 w 4057"/>
                <a:gd name="T31" fmla="*/ 125 h 767"/>
                <a:gd name="T32" fmla="*/ 1315 w 4057"/>
                <a:gd name="T33" fmla="*/ 258 h 767"/>
                <a:gd name="T34" fmla="*/ 1268 w 4057"/>
                <a:gd name="T35" fmla="*/ 390 h 767"/>
                <a:gd name="T36" fmla="*/ 1159 w 4057"/>
                <a:gd name="T37" fmla="*/ 472 h 767"/>
                <a:gd name="T38" fmla="*/ 920 w 4057"/>
                <a:gd name="T39" fmla="*/ 747 h 767"/>
                <a:gd name="T40" fmla="*/ 816 w 4057"/>
                <a:gd name="T41" fmla="*/ 744 h 767"/>
                <a:gd name="T42" fmla="*/ 1135 w 4057"/>
                <a:gd name="T43" fmla="*/ 366 h 767"/>
                <a:gd name="T44" fmla="*/ 1203 w 4057"/>
                <a:gd name="T45" fmla="*/ 273 h 767"/>
                <a:gd name="T46" fmla="*/ 1189 w 4057"/>
                <a:gd name="T47" fmla="*/ 183 h 767"/>
                <a:gd name="T48" fmla="*/ 1098 w 4057"/>
                <a:gd name="T49" fmla="*/ 120 h 767"/>
                <a:gd name="T50" fmla="*/ 1899 w 4057"/>
                <a:gd name="T51" fmla="*/ 15 h 767"/>
                <a:gd name="T52" fmla="*/ 2058 w 4057"/>
                <a:gd name="T53" fmla="*/ 106 h 767"/>
                <a:gd name="T54" fmla="*/ 2153 w 4057"/>
                <a:gd name="T55" fmla="*/ 252 h 767"/>
                <a:gd name="T56" fmla="*/ 2169 w 4057"/>
                <a:gd name="T57" fmla="*/ 463 h 767"/>
                <a:gd name="T58" fmla="*/ 2089 w 4057"/>
                <a:gd name="T59" fmla="*/ 629 h 767"/>
                <a:gd name="T60" fmla="*/ 1960 w 4057"/>
                <a:gd name="T61" fmla="*/ 730 h 767"/>
                <a:gd name="T62" fmla="*/ 1773 w 4057"/>
                <a:gd name="T63" fmla="*/ 767 h 767"/>
                <a:gd name="T64" fmla="*/ 1578 w 4057"/>
                <a:gd name="T65" fmla="*/ 702 h 767"/>
                <a:gd name="T66" fmla="*/ 1466 w 4057"/>
                <a:gd name="T67" fmla="*/ 584 h 767"/>
                <a:gd name="T68" fmla="*/ 1411 w 4057"/>
                <a:gd name="T69" fmla="*/ 405 h 767"/>
                <a:gd name="T70" fmla="*/ 1448 w 4057"/>
                <a:gd name="T71" fmla="*/ 218 h 767"/>
                <a:gd name="T72" fmla="*/ 1563 w 4057"/>
                <a:gd name="T73" fmla="*/ 76 h 767"/>
                <a:gd name="T74" fmla="*/ 1725 w 4057"/>
                <a:gd name="T75" fmla="*/ 6 h 767"/>
                <a:gd name="T76" fmla="*/ 1888 w 4057"/>
                <a:gd name="T77" fmla="*/ 644 h 767"/>
                <a:gd name="T78" fmla="*/ 2007 w 4057"/>
                <a:gd name="T79" fmla="*/ 561 h 767"/>
                <a:gd name="T80" fmla="*/ 2069 w 4057"/>
                <a:gd name="T81" fmla="*/ 413 h 767"/>
                <a:gd name="T82" fmla="*/ 2037 w 4057"/>
                <a:gd name="T83" fmla="*/ 253 h 767"/>
                <a:gd name="T84" fmla="*/ 1925 w 4057"/>
                <a:gd name="T85" fmla="*/ 141 h 767"/>
                <a:gd name="T86" fmla="*/ 1765 w 4057"/>
                <a:gd name="T87" fmla="*/ 108 h 767"/>
                <a:gd name="T88" fmla="*/ 1618 w 4057"/>
                <a:gd name="T89" fmla="*/ 171 h 767"/>
                <a:gd name="T90" fmla="*/ 1530 w 4057"/>
                <a:gd name="T91" fmla="*/ 304 h 767"/>
                <a:gd name="T92" fmla="*/ 1530 w 4057"/>
                <a:gd name="T93" fmla="*/ 467 h 767"/>
                <a:gd name="T94" fmla="*/ 1618 w 4057"/>
                <a:gd name="T95" fmla="*/ 598 h 767"/>
                <a:gd name="T96" fmla="*/ 1765 w 4057"/>
                <a:gd name="T97" fmla="*/ 659 h 767"/>
                <a:gd name="T98" fmla="*/ 2214 w 4057"/>
                <a:gd name="T99" fmla="*/ 91 h 767"/>
                <a:gd name="T100" fmla="*/ 2736 w 4057"/>
                <a:gd name="T101" fmla="*/ 13 h 767"/>
                <a:gd name="T102" fmla="*/ 2739 w 4057"/>
                <a:gd name="T103" fmla="*/ 107 h 767"/>
                <a:gd name="T104" fmla="*/ 2520 w 4057"/>
                <a:gd name="T105" fmla="*/ 756 h 767"/>
                <a:gd name="T106" fmla="*/ 2885 w 4057"/>
                <a:gd name="T107" fmla="*/ 31 h 767"/>
                <a:gd name="T108" fmla="*/ 3343 w 4057"/>
                <a:gd name="T109" fmla="*/ 15 h 767"/>
                <a:gd name="T110" fmla="*/ 3340 w 4057"/>
                <a:gd name="T111" fmla="*/ 109 h 767"/>
                <a:gd name="T112" fmla="*/ 3298 w 4057"/>
                <a:gd name="T113" fmla="*/ 345 h 767"/>
                <a:gd name="T114" fmla="*/ 2994 w 4057"/>
                <a:gd name="T115" fmla="*/ 658 h 767"/>
                <a:gd name="T116" fmla="*/ 3350 w 4057"/>
                <a:gd name="T117" fmla="*/ 744 h 767"/>
                <a:gd name="T118" fmla="*/ 2888 w 4057"/>
                <a:gd name="T119" fmla="*/ 747 h 7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057" h="767">
                  <a:moveTo>
                    <a:pt x="3508" y="37"/>
                  </a:moveTo>
                  <a:lnTo>
                    <a:pt x="3508" y="31"/>
                  </a:lnTo>
                  <a:lnTo>
                    <a:pt x="3509" y="29"/>
                  </a:lnTo>
                  <a:lnTo>
                    <a:pt x="3509" y="27"/>
                  </a:lnTo>
                  <a:lnTo>
                    <a:pt x="3510" y="25"/>
                  </a:lnTo>
                  <a:lnTo>
                    <a:pt x="3512" y="22"/>
                  </a:lnTo>
                  <a:lnTo>
                    <a:pt x="3515" y="19"/>
                  </a:lnTo>
                  <a:lnTo>
                    <a:pt x="3518" y="15"/>
                  </a:lnTo>
                  <a:lnTo>
                    <a:pt x="3523" y="13"/>
                  </a:lnTo>
                  <a:lnTo>
                    <a:pt x="3525" y="12"/>
                  </a:lnTo>
                  <a:lnTo>
                    <a:pt x="3528" y="12"/>
                  </a:lnTo>
                  <a:lnTo>
                    <a:pt x="3533" y="11"/>
                  </a:lnTo>
                  <a:lnTo>
                    <a:pt x="3595" y="11"/>
                  </a:lnTo>
                  <a:lnTo>
                    <a:pt x="3600" y="12"/>
                  </a:lnTo>
                  <a:lnTo>
                    <a:pt x="3602" y="12"/>
                  </a:lnTo>
                  <a:lnTo>
                    <a:pt x="3605" y="13"/>
                  </a:lnTo>
                  <a:lnTo>
                    <a:pt x="3609" y="15"/>
                  </a:lnTo>
                  <a:lnTo>
                    <a:pt x="3611" y="17"/>
                  </a:lnTo>
                  <a:lnTo>
                    <a:pt x="3613" y="19"/>
                  </a:lnTo>
                  <a:lnTo>
                    <a:pt x="3616" y="22"/>
                  </a:lnTo>
                  <a:lnTo>
                    <a:pt x="3618" y="27"/>
                  </a:lnTo>
                  <a:lnTo>
                    <a:pt x="3619" y="29"/>
                  </a:lnTo>
                  <a:lnTo>
                    <a:pt x="3620" y="31"/>
                  </a:lnTo>
                  <a:lnTo>
                    <a:pt x="3620" y="37"/>
                  </a:lnTo>
                  <a:lnTo>
                    <a:pt x="3620" y="332"/>
                  </a:lnTo>
                  <a:lnTo>
                    <a:pt x="3920" y="22"/>
                  </a:lnTo>
                  <a:lnTo>
                    <a:pt x="3924" y="18"/>
                  </a:lnTo>
                  <a:lnTo>
                    <a:pt x="3929" y="14"/>
                  </a:lnTo>
                  <a:lnTo>
                    <a:pt x="3934" y="12"/>
                  </a:lnTo>
                  <a:lnTo>
                    <a:pt x="3937" y="11"/>
                  </a:lnTo>
                  <a:lnTo>
                    <a:pt x="3940" y="11"/>
                  </a:lnTo>
                  <a:lnTo>
                    <a:pt x="4020" y="11"/>
                  </a:lnTo>
                  <a:lnTo>
                    <a:pt x="4024" y="11"/>
                  </a:lnTo>
                  <a:lnTo>
                    <a:pt x="4027" y="12"/>
                  </a:lnTo>
                  <a:lnTo>
                    <a:pt x="4030" y="13"/>
                  </a:lnTo>
                  <a:lnTo>
                    <a:pt x="4033" y="15"/>
                  </a:lnTo>
                  <a:lnTo>
                    <a:pt x="4035" y="17"/>
                  </a:lnTo>
                  <a:lnTo>
                    <a:pt x="4037" y="19"/>
                  </a:lnTo>
                  <a:lnTo>
                    <a:pt x="4040" y="24"/>
                  </a:lnTo>
                  <a:lnTo>
                    <a:pt x="4042" y="30"/>
                  </a:lnTo>
                  <a:lnTo>
                    <a:pt x="4042" y="33"/>
                  </a:lnTo>
                  <a:lnTo>
                    <a:pt x="4042" y="37"/>
                  </a:lnTo>
                  <a:lnTo>
                    <a:pt x="4039" y="43"/>
                  </a:lnTo>
                  <a:lnTo>
                    <a:pt x="4038" y="46"/>
                  </a:lnTo>
                  <a:lnTo>
                    <a:pt x="4035" y="49"/>
                  </a:lnTo>
                  <a:lnTo>
                    <a:pt x="3728" y="363"/>
                  </a:lnTo>
                  <a:lnTo>
                    <a:pt x="4053" y="721"/>
                  </a:lnTo>
                  <a:lnTo>
                    <a:pt x="4055" y="724"/>
                  </a:lnTo>
                  <a:lnTo>
                    <a:pt x="4056" y="726"/>
                  </a:lnTo>
                  <a:lnTo>
                    <a:pt x="4057" y="731"/>
                  </a:lnTo>
                  <a:lnTo>
                    <a:pt x="4057" y="734"/>
                  </a:lnTo>
                  <a:lnTo>
                    <a:pt x="4057" y="737"/>
                  </a:lnTo>
                  <a:lnTo>
                    <a:pt x="4056" y="740"/>
                  </a:lnTo>
                  <a:lnTo>
                    <a:pt x="4055" y="743"/>
                  </a:lnTo>
                  <a:lnTo>
                    <a:pt x="4054" y="746"/>
                  </a:lnTo>
                  <a:lnTo>
                    <a:pt x="4052" y="748"/>
                  </a:lnTo>
                  <a:lnTo>
                    <a:pt x="4050" y="750"/>
                  </a:lnTo>
                  <a:lnTo>
                    <a:pt x="4048" y="752"/>
                  </a:lnTo>
                  <a:lnTo>
                    <a:pt x="4045" y="754"/>
                  </a:lnTo>
                  <a:lnTo>
                    <a:pt x="4042" y="755"/>
                  </a:lnTo>
                  <a:lnTo>
                    <a:pt x="4038" y="756"/>
                  </a:lnTo>
                  <a:lnTo>
                    <a:pt x="4034" y="756"/>
                  </a:lnTo>
                  <a:lnTo>
                    <a:pt x="3949" y="756"/>
                  </a:lnTo>
                  <a:lnTo>
                    <a:pt x="3945" y="756"/>
                  </a:lnTo>
                  <a:lnTo>
                    <a:pt x="3942" y="756"/>
                  </a:lnTo>
                  <a:lnTo>
                    <a:pt x="3936" y="754"/>
                  </a:lnTo>
                  <a:lnTo>
                    <a:pt x="3934" y="753"/>
                  </a:lnTo>
                  <a:lnTo>
                    <a:pt x="3932" y="752"/>
                  </a:lnTo>
                  <a:lnTo>
                    <a:pt x="3930" y="749"/>
                  </a:lnTo>
                  <a:lnTo>
                    <a:pt x="3620" y="400"/>
                  </a:lnTo>
                  <a:lnTo>
                    <a:pt x="3620" y="731"/>
                  </a:lnTo>
                  <a:lnTo>
                    <a:pt x="3620" y="736"/>
                  </a:lnTo>
                  <a:lnTo>
                    <a:pt x="3619" y="738"/>
                  </a:lnTo>
                  <a:lnTo>
                    <a:pt x="3618" y="741"/>
                  </a:lnTo>
                  <a:lnTo>
                    <a:pt x="3616" y="745"/>
                  </a:lnTo>
                  <a:lnTo>
                    <a:pt x="3614" y="747"/>
                  </a:lnTo>
                  <a:lnTo>
                    <a:pt x="3613" y="749"/>
                  </a:lnTo>
                  <a:lnTo>
                    <a:pt x="3609" y="752"/>
                  </a:lnTo>
                  <a:lnTo>
                    <a:pt x="3605" y="754"/>
                  </a:lnTo>
                  <a:lnTo>
                    <a:pt x="3602" y="755"/>
                  </a:lnTo>
                  <a:lnTo>
                    <a:pt x="3600" y="756"/>
                  </a:lnTo>
                  <a:lnTo>
                    <a:pt x="3595" y="756"/>
                  </a:lnTo>
                  <a:lnTo>
                    <a:pt x="3533" y="756"/>
                  </a:lnTo>
                  <a:lnTo>
                    <a:pt x="3528" y="756"/>
                  </a:lnTo>
                  <a:lnTo>
                    <a:pt x="3523" y="754"/>
                  </a:lnTo>
                  <a:lnTo>
                    <a:pt x="3518" y="752"/>
                  </a:lnTo>
                  <a:lnTo>
                    <a:pt x="3515" y="749"/>
                  </a:lnTo>
                  <a:lnTo>
                    <a:pt x="3512" y="745"/>
                  </a:lnTo>
                  <a:lnTo>
                    <a:pt x="3510" y="743"/>
                  </a:lnTo>
                  <a:lnTo>
                    <a:pt x="3509" y="741"/>
                  </a:lnTo>
                  <a:lnTo>
                    <a:pt x="3508" y="736"/>
                  </a:lnTo>
                  <a:lnTo>
                    <a:pt x="3508" y="731"/>
                  </a:lnTo>
                  <a:lnTo>
                    <a:pt x="3508" y="37"/>
                  </a:lnTo>
                  <a:close/>
                  <a:moveTo>
                    <a:pt x="2" y="729"/>
                  </a:moveTo>
                  <a:lnTo>
                    <a:pt x="329" y="12"/>
                  </a:lnTo>
                  <a:lnTo>
                    <a:pt x="330" y="10"/>
                  </a:lnTo>
                  <a:lnTo>
                    <a:pt x="332" y="8"/>
                  </a:lnTo>
                  <a:lnTo>
                    <a:pt x="335" y="6"/>
                  </a:lnTo>
                  <a:lnTo>
                    <a:pt x="337" y="4"/>
                  </a:lnTo>
                  <a:lnTo>
                    <a:pt x="340" y="2"/>
                  </a:lnTo>
                  <a:lnTo>
                    <a:pt x="342" y="1"/>
                  </a:lnTo>
                  <a:lnTo>
                    <a:pt x="345" y="1"/>
                  </a:lnTo>
                  <a:lnTo>
                    <a:pt x="347" y="0"/>
                  </a:lnTo>
                  <a:lnTo>
                    <a:pt x="358" y="0"/>
                  </a:lnTo>
                  <a:lnTo>
                    <a:pt x="360" y="1"/>
                  </a:lnTo>
                  <a:lnTo>
                    <a:pt x="362" y="1"/>
                  </a:lnTo>
                  <a:lnTo>
                    <a:pt x="365" y="2"/>
                  </a:lnTo>
                  <a:lnTo>
                    <a:pt x="367" y="4"/>
                  </a:lnTo>
                  <a:lnTo>
                    <a:pt x="370" y="6"/>
                  </a:lnTo>
                  <a:lnTo>
                    <a:pt x="372" y="8"/>
                  </a:lnTo>
                  <a:lnTo>
                    <a:pt x="376" y="12"/>
                  </a:lnTo>
                  <a:lnTo>
                    <a:pt x="701" y="729"/>
                  </a:lnTo>
                  <a:lnTo>
                    <a:pt x="703" y="734"/>
                  </a:lnTo>
                  <a:lnTo>
                    <a:pt x="703" y="739"/>
                  </a:lnTo>
                  <a:lnTo>
                    <a:pt x="702" y="744"/>
                  </a:lnTo>
                  <a:lnTo>
                    <a:pt x="702" y="746"/>
                  </a:lnTo>
                  <a:lnTo>
                    <a:pt x="700" y="748"/>
                  </a:lnTo>
                  <a:lnTo>
                    <a:pt x="699" y="750"/>
                  </a:lnTo>
                  <a:lnTo>
                    <a:pt x="697" y="751"/>
                  </a:lnTo>
                  <a:lnTo>
                    <a:pt x="693" y="754"/>
                  </a:lnTo>
                  <a:lnTo>
                    <a:pt x="689" y="756"/>
                  </a:lnTo>
                  <a:lnTo>
                    <a:pt x="686" y="756"/>
                  </a:lnTo>
                  <a:lnTo>
                    <a:pt x="683" y="757"/>
                  </a:lnTo>
                  <a:lnTo>
                    <a:pt x="616" y="757"/>
                  </a:lnTo>
                  <a:lnTo>
                    <a:pt x="611" y="756"/>
                  </a:lnTo>
                  <a:lnTo>
                    <a:pt x="607" y="755"/>
                  </a:lnTo>
                  <a:lnTo>
                    <a:pt x="606" y="755"/>
                  </a:lnTo>
                  <a:lnTo>
                    <a:pt x="604" y="754"/>
                  </a:lnTo>
                  <a:lnTo>
                    <a:pt x="601" y="752"/>
                  </a:lnTo>
                  <a:lnTo>
                    <a:pt x="598" y="750"/>
                  </a:lnTo>
                  <a:lnTo>
                    <a:pt x="595" y="747"/>
                  </a:lnTo>
                  <a:lnTo>
                    <a:pt x="593" y="744"/>
                  </a:lnTo>
                  <a:lnTo>
                    <a:pt x="592" y="741"/>
                  </a:lnTo>
                  <a:lnTo>
                    <a:pt x="526" y="595"/>
                  </a:lnTo>
                  <a:lnTo>
                    <a:pt x="177" y="595"/>
                  </a:lnTo>
                  <a:lnTo>
                    <a:pt x="144" y="668"/>
                  </a:lnTo>
                  <a:lnTo>
                    <a:pt x="112" y="741"/>
                  </a:lnTo>
                  <a:lnTo>
                    <a:pt x="109" y="746"/>
                  </a:lnTo>
                  <a:lnTo>
                    <a:pt x="103" y="751"/>
                  </a:lnTo>
                  <a:lnTo>
                    <a:pt x="100" y="753"/>
                  </a:lnTo>
                  <a:lnTo>
                    <a:pt x="96" y="755"/>
                  </a:lnTo>
                  <a:lnTo>
                    <a:pt x="92" y="756"/>
                  </a:lnTo>
                  <a:lnTo>
                    <a:pt x="88" y="757"/>
                  </a:lnTo>
                  <a:lnTo>
                    <a:pt x="21" y="757"/>
                  </a:lnTo>
                  <a:lnTo>
                    <a:pt x="15" y="756"/>
                  </a:lnTo>
                  <a:lnTo>
                    <a:pt x="10" y="754"/>
                  </a:lnTo>
                  <a:lnTo>
                    <a:pt x="6" y="751"/>
                  </a:lnTo>
                  <a:lnTo>
                    <a:pt x="4" y="750"/>
                  </a:lnTo>
                  <a:lnTo>
                    <a:pt x="3" y="748"/>
                  </a:lnTo>
                  <a:lnTo>
                    <a:pt x="1" y="744"/>
                  </a:lnTo>
                  <a:lnTo>
                    <a:pt x="1" y="741"/>
                  </a:lnTo>
                  <a:lnTo>
                    <a:pt x="0" y="739"/>
                  </a:lnTo>
                  <a:lnTo>
                    <a:pt x="0" y="737"/>
                  </a:lnTo>
                  <a:lnTo>
                    <a:pt x="1" y="734"/>
                  </a:lnTo>
                  <a:lnTo>
                    <a:pt x="1" y="731"/>
                  </a:lnTo>
                  <a:lnTo>
                    <a:pt x="2" y="729"/>
                  </a:lnTo>
                  <a:close/>
                  <a:moveTo>
                    <a:pt x="485" y="503"/>
                  </a:moveTo>
                  <a:lnTo>
                    <a:pt x="353" y="211"/>
                  </a:lnTo>
                  <a:lnTo>
                    <a:pt x="348" y="211"/>
                  </a:lnTo>
                  <a:lnTo>
                    <a:pt x="218" y="503"/>
                  </a:lnTo>
                  <a:lnTo>
                    <a:pt x="485" y="503"/>
                  </a:lnTo>
                  <a:close/>
                  <a:moveTo>
                    <a:pt x="814" y="31"/>
                  </a:moveTo>
                  <a:lnTo>
                    <a:pt x="815" y="27"/>
                  </a:lnTo>
                  <a:lnTo>
                    <a:pt x="816" y="24"/>
                  </a:lnTo>
                  <a:lnTo>
                    <a:pt x="818" y="20"/>
                  </a:lnTo>
                  <a:lnTo>
                    <a:pt x="820" y="17"/>
                  </a:lnTo>
                  <a:lnTo>
                    <a:pt x="823" y="15"/>
                  </a:lnTo>
                  <a:lnTo>
                    <a:pt x="827" y="13"/>
                  </a:lnTo>
                  <a:lnTo>
                    <a:pt x="830" y="11"/>
                  </a:lnTo>
                  <a:lnTo>
                    <a:pt x="835" y="11"/>
                  </a:lnTo>
                  <a:lnTo>
                    <a:pt x="1077" y="11"/>
                  </a:lnTo>
                  <a:lnTo>
                    <a:pt x="1089" y="11"/>
                  </a:lnTo>
                  <a:lnTo>
                    <a:pt x="1101" y="12"/>
                  </a:lnTo>
                  <a:lnTo>
                    <a:pt x="1113" y="14"/>
                  </a:lnTo>
                  <a:lnTo>
                    <a:pt x="1125" y="16"/>
                  </a:lnTo>
                  <a:lnTo>
                    <a:pt x="1136" y="19"/>
                  </a:lnTo>
                  <a:lnTo>
                    <a:pt x="1148" y="22"/>
                  </a:lnTo>
                  <a:lnTo>
                    <a:pt x="1159" y="25"/>
                  </a:lnTo>
                  <a:lnTo>
                    <a:pt x="1170" y="30"/>
                  </a:lnTo>
                  <a:lnTo>
                    <a:pt x="1180" y="34"/>
                  </a:lnTo>
                  <a:lnTo>
                    <a:pt x="1190" y="40"/>
                  </a:lnTo>
                  <a:lnTo>
                    <a:pt x="1200" y="45"/>
                  </a:lnTo>
                  <a:lnTo>
                    <a:pt x="1210" y="51"/>
                  </a:lnTo>
                  <a:lnTo>
                    <a:pt x="1219" y="58"/>
                  </a:lnTo>
                  <a:lnTo>
                    <a:pt x="1228" y="65"/>
                  </a:lnTo>
                  <a:lnTo>
                    <a:pt x="1237" y="72"/>
                  </a:lnTo>
                  <a:lnTo>
                    <a:pt x="1245" y="80"/>
                  </a:lnTo>
                  <a:lnTo>
                    <a:pt x="1253" y="88"/>
                  </a:lnTo>
                  <a:lnTo>
                    <a:pt x="1261" y="97"/>
                  </a:lnTo>
                  <a:lnTo>
                    <a:pt x="1268" y="106"/>
                  </a:lnTo>
                  <a:lnTo>
                    <a:pt x="1275" y="115"/>
                  </a:lnTo>
                  <a:lnTo>
                    <a:pt x="1281" y="125"/>
                  </a:lnTo>
                  <a:lnTo>
                    <a:pt x="1286" y="135"/>
                  </a:lnTo>
                  <a:lnTo>
                    <a:pt x="1292" y="145"/>
                  </a:lnTo>
                  <a:lnTo>
                    <a:pt x="1297" y="155"/>
                  </a:lnTo>
                  <a:lnTo>
                    <a:pt x="1301" y="166"/>
                  </a:lnTo>
                  <a:lnTo>
                    <a:pt x="1305" y="177"/>
                  </a:lnTo>
                  <a:lnTo>
                    <a:pt x="1308" y="188"/>
                  </a:lnTo>
                  <a:lnTo>
                    <a:pt x="1311" y="199"/>
                  </a:lnTo>
                  <a:lnTo>
                    <a:pt x="1313" y="211"/>
                  </a:lnTo>
                  <a:lnTo>
                    <a:pt x="1314" y="222"/>
                  </a:lnTo>
                  <a:lnTo>
                    <a:pt x="1315" y="234"/>
                  </a:lnTo>
                  <a:lnTo>
                    <a:pt x="1315" y="246"/>
                  </a:lnTo>
                  <a:lnTo>
                    <a:pt x="1315" y="258"/>
                  </a:lnTo>
                  <a:lnTo>
                    <a:pt x="1314" y="270"/>
                  </a:lnTo>
                  <a:lnTo>
                    <a:pt x="1313" y="282"/>
                  </a:lnTo>
                  <a:lnTo>
                    <a:pt x="1311" y="294"/>
                  </a:lnTo>
                  <a:lnTo>
                    <a:pt x="1308" y="307"/>
                  </a:lnTo>
                  <a:lnTo>
                    <a:pt x="1305" y="318"/>
                  </a:lnTo>
                  <a:lnTo>
                    <a:pt x="1301" y="329"/>
                  </a:lnTo>
                  <a:lnTo>
                    <a:pt x="1297" y="340"/>
                  </a:lnTo>
                  <a:lnTo>
                    <a:pt x="1292" y="351"/>
                  </a:lnTo>
                  <a:lnTo>
                    <a:pt x="1287" y="361"/>
                  </a:lnTo>
                  <a:lnTo>
                    <a:pt x="1281" y="371"/>
                  </a:lnTo>
                  <a:lnTo>
                    <a:pt x="1275" y="381"/>
                  </a:lnTo>
                  <a:lnTo>
                    <a:pt x="1268" y="390"/>
                  </a:lnTo>
                  <a:lnTo>
                    <a:pt x="1261" y="399"/>
                  </a:lnTo>
                  <a:lnTo>
                    <a:pt x="1253" y="408"/>
                  </a:lnTo>
                  <a:lnTo>
                    <a:pt x="1245" y="416"/>
                  </a:lnTo>
                  <a:lnTo>
                    <a:pt x="1237" y="424"/>
                  </a:lnTo>
                  <a:lnTo>
                    <a:pt x="1229" y="432"/>
                  </a:lnTo>
                  <a:lnTo>
                    <a:pt x="1220" y="439"/>
                  </a:lnTo>
                  <a:lnTo>
                    <a:pt x="1210" y="445"/>
                  </a:lnTo>
                  <a:lnTo>
                    <a:pt x="1201" y="452"/>
                  </a:lnTo>
                  <a:lnTo>
                    <a:pt x="1191" y="457"/>
                  </a:lnTo>
                  <a:lnTo>
                    <a:pt x="1180" y="463"/>
                  </a:lnTo>
                  <a:lnTo>
                    <a:pt x="1170" y="468"/>
                  </a:lnTo>
                  <a:lnTo>
                    <a:pt x="1159" y="472"/>
                  </a:lnTo>
                  <a:lnTo>
                    <a:pt x="1148" y="476"/>
                  </a:lnTo>
                  <a:lnTo>
                    <a:pt x="1137" y="479"/>
                  </a:lnTo>
                  <a:lnTo>
                    <a:pt x="1126" y="481"/>
                  </a:lnTo>
                  <a:lnTo>
                    <a:pt x="1114" y="484"/>
                  </a:lnTo>
                  <a:lnTo>
                    <a:pt x="1102" y="485"/>
                  </a:lnTo>
                  <a:lnTo>
                    <a:pt x="1090" y="486"/>
                  </a:lnTo>
                  <a:lnTo>
                    <a:pt x="1078" y="486"/>
                  </a:lnTo>
                  <a:lnTo>
                    <a:pt x="924" y="486"/>
                  </a:lnTo>
                  <a:lnTo>
                    <a:pt x="924" y="736"/>
                  </a:lnTo>
                  <a:lnTo>
                    <a:pt x="924" y="740"/>
                  </a:lnTo>
                  <a:lnTo>
                    <a:pt x="922" y="744"/>
                  </a:lnTo>
                  <a:lnTo>
                    <a:pt x="920" y="747"/>
                  </a:lnTo>
                  <a:lnTo>
                    <a:pt x="918" y="750"/>
                  </a:lnTo>
                  <a:lnTo>
                    <a:pt x="915" y="753"/>
                  </a:lnTo>
                  <a:lnTo>
                    <a:pt x="911" y="755"/>
                  </a:lnTo>
                  <a:lnTo>
                    <a:pt x="908" y="756"/>
                  </a:lnTo>
                  <a:lnTo>
                    <a:pt x="904" y="756"/>
                  </a:lnTo>
                  <a:lnTo>
                    <a:pt x="835" y="756"/>
                  </a:lnTo>
                  <a:lnTo>
                    <a:pt x="830" y="756"/>
                  </a:lnTo>
                  <a:lnTo>
                    <a:pt x="827" y="755"/>
                  </a:lnTo>
                  <a:lnTo>
                    <a:pt x="823" y="753"/>
                  </a:lnTo>
                  <a:lnTo>
                    <a:pt x="820" y="750"/>
                  </a:lnTo>
                  <a:lnTo>
                    <a:pt x="818" y="747"/>
                  </a:lnTo>
                  <a:lnTo>
                    <a:pt x="816" y="744"/>
                  </a:lnTo>
                  <a:lnTo>
                    <a:pt x="815" y="740"/>
                  </a:lnTo>
                  <a:lnTo>
                    <a:pt x="814" y="736"/>
                  </a:lnTo>
                  <a:lnTo>
                    <a:pt x="814" y="31"/>
                  </a:lnTo>
                  <a:close/>
                  <a:moveTo>
                    <a:pt x="1071" y="382"/>
                  </a:moveTo>
                  <a:lnTo>
                    <a:pt x="1078" y="382"/>
                  </a:lnTo>
                  <a:lnTo>
                    <a:pt x="1084" y="381"/>
                  </a:lnTo>
                  <a:lnTo>
                    <a:pt x="1098" y="379"/>
                  </a:lnTo>
                  <a:lnTo>
                    <a:pt x="1110" y="376"/>
                  </a:lnTo>
                  <a:lnTo>
                    <a:pt x="1117" y="374"/>
                  </a:lnTo>
                  <a:lnTo>
                    <a:pt x="1123" y="372"/>
                  </a:lnTo>
                  <a:lnTo>
                    <a:pt x="1129" y="369"/>
                  </a:lnTo>
                  <a:lnTo>
                    <a:pt x="1135" y="366"/>
                  </a:lnTo>
                  <a:lnTo>
                    <a:pt x="1146" y="359"/>
                  </a:lnTo>
                  <a:lnTo>
                    <a:pt x="1156" y="351"/>
                  </a:lnTo>
                  <a:lnTo>
                    <a:pt x="1166" y="343"/>
                  </a:lnTo>
                  <a:lnTo>
                    <a:pt x="1175" y="333"/>
                  </a:lnTo>
                  <a:lnTo>
                    <a:pt x="1179" y="328"/>
                  </a:lnTo>
                  <a:lnTo>
                    <a:pt x="1182" y="323"/>
                  </a:lnTo>
                  <a:lnTo>
                    <a:pt x="1186" y="317"/>
                  </a:lnTo>
                  <a:lnTo>
                    <a:pt x="1189" y="312"/>
                  </a:lnTo>
                  <a:lnTo>
                    <a:pt x="1195" y="299"/>
                  </a:lnTo>
                  <a:lnTo>
                    <a:pt x="1198" y="292"/>
                  </a:lnTo>
                  <a:lnTo>
                    <a:pt x="1200" y="286"/>
                  </a:lnTo>
                  <a:lnTo>
                    <a:pt x="1203" y="273"/>
                  </a:lnTo>
                  <a:lnTo>
                    <a:pt x="1204" y="266"/>
                  </a:lnTo>
                  <a:lnTo>
                    <a:pt x="1205" y="263"/>
                  </a:lnTo>
                  <a:lnTo>
                    <a:pt x="1205" y="259"/>
                  </a:lnTo>
                  <a:lnTo>
                    <a:pt x="1206" y="252"/>
                  </a:lnTo>
                  <a:lnTo>
                    <a:pt x="1206" y="245"/>
                  </a:lnTo>
                  <a:lnTo>
                    <a:pt x="1206" y="238"/>
                  </a:lnTo>
                  <a:lnTo>
                    <a:pt x="1205" y="232"/>
                  </a:lnTo>
                  <a:lnTo>
                    <a:pt x="1203" y="219"/>
                  </a:lnTo>
                  <a:lnTo>
                    <a:pt x="1202" y="213"/>
                  </a:lnTo>
                  <a:lnTo>
                    <a:pt x="1200" y="206"/>
                  </a:lnTo>
                  <a:lnTo>
                    <a:pt x="1195" y="195"/>
                  </a:lnTo>
                  <a:lnTo>
                    <a:pt x="1189" y="183"/>
                  </a:lnTo>
                  <a:lnTo>
                    <a:pt x="1182" y="173"/>
                  </a:lnTo>
                  <a:lnTo>
                    <a:pt x="1179" y="168"/>
                  </a:lnTo>
                  <a:lnTo>
                    <a:pt x="1175" y="163"/>
                  </a:lnTo>
                  <a:lnTo>
                    <a:pt x="1170" y="158"/>
                  </a:lnTo>
                  <a:lnTo>
                    <a:pt x="1166" y="154"/>
                  </a:lnTo>
                  <a:lnTo>
                    <a:pt x="1156" y="146"/>
                  </a:lnTo>
                  <a:lnTo>
                    <a:pt x="1146" y="139"/>
                  </a:lnTo>
                  <a:lnTo>
                    <a:pt x="1135" y="132"/>
                  </a:lnTo>
                  <a:lnTo>
                    <a:pt x="1129" y="130"/>
                  </a:lnTo>
                  <a:lnTo>
                    <a:pt x="1123" y="127"/>
                  </a:lnTo>
                  <a:lnTo>
                    <a:pt x="1110" y="123"/>
                  </a:lnTo>
                  <a:lnTo>
                    <a:pt x="1098" y="120"/>
                  </a:lnTo>
                  <a:lnTo>
                    <a:pt x="1084" y="118"/>
                  </a:lnTo>
                  <a:lnTo>
                    <a:pt x="1071" y="117"/>
                  </a:lnTo>
                  <a:lnTo>
                    <a:pt x="924" y="117"/>
                  </a:lnTo>
                  <a:lnTo>
                    <a:pt x="924" y="382"/>
                  </a:lnTo>
                  <a:lnTo>
                    <a:pt x="1071" y="382"/>
                  </a:lnTo>
                  <a:close/>
                  <a:moveTo>
                    <a:pt x="1793" y="0"/>
                  </a:moveTo>
                  <a:lnTo>
                    <a:pt x="1812" y="1"/>
                  </a:lnTo>
                  <a:lnTo>
                    <a:pt x="1832" y="2"/>
                  </a:lnTo>
                  <a:lnTo>
                    <a:pt x="1851" y="5"/>
                  </a:lnTo>
                  <a:lnTo>
                    <a:pt x="1871" y="8"/>
                  </a:lnTo>
                  <a:lnTo>
                    <a:pt x="1890" y="12"/>
                  </a:lnTo>
                  <a:lnTo>
                    <a:pt x="1899" y="15"/>
                  </a:lnTo>
                  <a:lnTo>
                    <a:pt x="1908" y="18"/>
                  </a:lnTo>
                  <a:lnTo>
                    <a:pt x="1917" y="20"/>
                  </a:lnTo>
                  <a:lnTo>
                    <a:pt x="1926" y="24"/>
                  </a:lnTo>
                  <a:lnTo>
                    <a:pt x="1943" y="30"/>
                  </a:lnTo>
                  <a:lnTo>
                    <a:pt x="1960" y="38"/>
                  </a:lnTo>
                  <a:lnTo>
                    <a:pt x="1977" y="47"/>
                  </a:lnTo>
                  <a:lnTo>
                    <a:pt x="1993" y="56"/>
                  </a:lnTo>
                  <a:lnTo>
                    <a:pt x="2008" y="66"/>
                  </a:lnTo>
                  <a:lnTo>
                    <a:pt x="2023" y="76"/>
                  </a:lnTo>
                  <a:lnTo>
                    <a:pt x="2038" y="88"/>
                  </a:lnTo>
                  <a:lnTo>
                    <a:pt x="2052" y="100"/>
                  </a:lnTo>
                  <a:lnTo>
                    <a:pt x="2058" y="106"/>
                  </a:lnTo>
                  <a:lnTo>
                    <a:pt x="2065" y="113"/>
                  </a:lnTo>
                  <a:lnTo>
                    <a:pt x="2077" y="126"/>
                  </a:lnTo>
                  <a:lnTo>
                    <a:pt x="2089" y="140"/>
                  </a:lnTo>
                  <a:lnTo>
                    <a:pt x="2095" y="147"/>
                  </a:lnTo>
                  <a:lnTo>
                    <a:pt x="2101" y="154"/>
                  </a:lnTo>
                  <a:lnTo>
                    <a:pt x="2111" y="169"/>
                  </a:lnTo>
                  <a:lnTo>
                    <a:pt x="2121" y="185"/>
                  </a:lnTo>
                  <a:lnTo>
                    <a:pt x="2131" y="201"/>
                  </a:lnTo>
                  <a:lnTo>
                    <a:pt x="2139" y="218"/>
                  </a:lnTo>
                  <a:lnTo>
                    <a:pt x="2147" y="235"/>
                  </a:lnTo>
                  <a:lnTo>
                    <a:pt x="2150" y="243"/>
                  </a:lnTo>
                  <a:lnTo>
                    <a:pt x="2153" y="252"/>
                  </a:lnTo>
                  <a:lnTo>
                    <a:pt x="2159" y="270"/>
                  </a:lnTo>
                  <a:lnTo>
                    <a:pt x="2165" y="288"/>
                  </a:lnTo>
                  <a:lnTo>
                    <a:pt x="2169" y="308"/>
                  </a:lnTo>
                  <a:lnTo>
                    <a:pt x="2171" y="317"/>
                  </a:lnTo>
                  <a:lnTo>
                    <a:pt x="2172" y="327"/>
                  </a:lnTo>
                  <a:lnTo>
                    <a:pt x="2175" y="346"/>
                  </a:lnTo>
                  <a:lnTo>
                    <a:pt x="2176" y="366"/>
                  </a:lnTo>
                  <a:lnTo>
                    <a:pt x="2177" y="385"/>
                  </a:lnTo>
                  <a:lnTo>
                    <a:pt x="2176" y="405"/>
                  </a:lnTo>
                  <a:lnTo>
                    <a:pt x="2175" y="425"/>
                  </a:lnTo>
                  <a:lnTo>
                    <a:pt x="2172" y="444"/>
                  </a:lnTo>
                  <a:lnTo>
                    <a:pt x="2169" y="463"/>
                  </a:lnTo>
                  <a:lnTo>
                    <a:pt x="2165" y="481"/>
                  </a:lnTo>
                  <a:lnTo>
                    <a:pt x="2162" y="491"/>
                  </a:lnTo>
                  <a:lnTo>
                    <a:pt x="2159" y="500"/>
                  </a:lnTo>
                  <a:lnTo>
                    <a:pt x="2157" y="509"/>
                  </a:lnTo>
                  <a:lnTo>
                    <a:pt x="2153" y="517"/>
                  </a:lnTo>
                  <a:lnTo>
                    <a:pt x="2147" y="535"/>
                  </a:lnTo>
                  <a:lnTo>
                    <a:pt x="2139" y="552"/>
                  </a:lnTo>
                  <a:lnTo>
                    <a:pt x="2131" y="568"/>
                  </a:lnTo>
                  <a:lnTo>
                    <a:pt x="2121" y="584"/>
                  </a:lnTo>
                  <a:lnTo>
                    <a:pt x="2111" y="600"/>
                  </a:lnTo>
                  <a:lnTo>
                    <a:pt x="2101" y="615"/>
                  </a:lnTo>
                  <a:lnTo>
                    <a:pt x="2089" y="629"/>
                  </a:lnTo>
                  <a:lnTo>
                    <a:pt x="2077" y="643"/>
                  </a:lnTo>
                  <a:lnTo>
                    <a:pt x="2071" y="649"/>
                  </a:lnTo>
                  <a:lnTo>
                    <a:pt x="2065" y="656"/>
                  </a:lnTo>
                  <a:lnTo>
                    <a:pt x="2052" y="669"/>
                  </a:lnTo>
                  <a:lnTo>
                    <a:pt x="2038" y="681"/>
                  </a:lnTo>
                  <a:lnTo>
                    <a:pt x="2031" y="686"/>
                  </a:lnTo>
                  <a:lnTo>
                    <a:pt x="2023" y="692"/>
                  </a:lnTo>
                  <a:lnTo>
                    <a:pt x="2008" y="702"/>
                  </a:lnTo>
                  <a:lnTo>
                    <a:pt x="2001" y="707"/>
                  </a:lnTo>
                  <a:lnTo>
                    <a:pt x="1993" y="712"/>
                  </a:lnTo>
                  <a:lnTo>
                    <a:pt x="1977" y="721"/>
                  </a:lnTo>
                  <a:lnTo>
                    <a:pt x="1960" y="730"/>
                  </a:lnTo>
                  <a:lnTo>
                    <a:pt x="1952" y="734"/>
                  </a:lnTo>
                  <a:lnTo>
                    <a:pt x="1943" y="737"/>
                  </a:lnTo>
                  <a:lnTo>
                    <a:pt x="1935" y="741"/>
                  </a:lnTo>
                  <a:lnTo>
                    <a:pt x="1926" y="744"/>
                  </a:lnTo>
                  <a:lnTo>
                    <a:pt x="1908" y="750"/>
                  </a:lnTo>
                  <a:lnTo>
                    <a:pt x="1890" y="755"/>
                  </a:lnTo>
                  <a:lnTo>
                    <a:pt x="1871" y="759"/>
                  </a:lnTo>
                  <a:lnTo>
                    <a:pt x="1851" y="763"/>
                  </a:lnTo>
                  <a:lnTo>
                    <a:pt x="1832" y="765"/>
                  </a:lnTo>
                  <a:lnTo>
                    <a:pt x="1812" y="767"/>
                  </a:lnTo>
                  <a:lnTo>
                    <a:pt x="1793" y="767"/>
                  </a:lnTo>
                  <a:lnTo>
                    <a:pt x="1773" y="767"/>
                  </a:lnTo>
                  <a:lnTo>
                    <a:pt x="1753" y="765"/>
                  </a:lnTo>
                  <a:lnTo>
                    <a:pt x="1734" y="763"/>
                  </a:lnTo>
                  <a:lnTo>
                    <a:pt x="1715" y="759"/>
                  </a:lnTo>
                  <a:lnTo>
                    <a:pt x="1697" y="755"/>
                  </a:lnTo>
                  <a:lnTo>
                    <a:pt x="1678" y="750"/>
                  </a:lnTo>
                  <a:lnTo>
                    <a:pt x="1669" y="747"/>
                  </a:lnTo>
                  <a:lnTo>
                    <a:pt x="1661" y="744"/>
                  </a:lnTo>
                  <a:lnTo>
                    <a:pt x="1643" y="737"/>
                  </a:lnTo>
                  <a:lnTo>
                    <a:pt x="1626" y="730"/>
                  </a:lnTo>
                  <a:lnTo>
                    <a:pt x="1610" y="721"/>
                  </a:lnTo>
                  <a:lnTo>
                    <a:pt x="1594" y="712"/>
                  </a:lnTo>
                  <a:lnTo>
                    <a:pt x="1578" y="702"/>
                  </a:lnTo>
                  <a:lnTo>
                    <a:pt x="1563" y="692"/>
                  </a:lnTo>
                  <a:lnTo>
                    <a:pt x="1549" y="681"/>
                  </a:lnTo>
                  <a:lnTo>
                    <a:pt x="1542" y="675"/>
                  </a:lnTo>
                  <a:lnTo>
                    <a:pt x="1535" y="669"/>
                  </a:lnTo>
                  <a:lnTo>
                    <a:pt x="1522" y="656"/>
                  </a:lnTo>
                  <a:lnTo>
                    <a:pt x="1509" y="643"/>
                  </a:lnTo>
                  <a:lnTo>
                    <a:pt x="1497" y="629"/>
                  </a:lnTo>
                  <a:lnTo>
                    <a:pt x="1492" y="622"/>
                  </a:lnTo>
                  <a:lnTo>
                    <a:pt x="1486" y="615"/>
                  </a:lnTo>
                  <a:lnTo>
                    <a:pt x="1476" y="600"/>
                  </a:lnTo>
                  <a:lnTo>
                    <a:pt x="1471" y="592"/>
                  </a:lnTo>
                  <a:lnTo>
                    <a:pt x="1466" y="584"/>
                  </a:lnTo>
                  <a:lnTo>
                    <a:pt x="1457" y="568"/>
                  </a:lnTo>
                  <a:lnTo>
                    <a:pt x="1448" y="552"/>
                  </a:lnTo>
                  <a:lnTo>
                    <a:pt x="1444" y="543"/>
                  </a:lnTo>
                  <a:lnTo>
                    <a:pt x="1441" y="535"/>
                  </a:lnTo>
                  <a:lnTo>
                    <a:pt x="1437" y="526"/>
                  </a:lnTo>
                  <a:lnTo>
                    <a:pt x="1434" y="517"/>
                  </a:lnTo>
                  <a:lnTo>
                    <a:pt x="1428" y="500"/>
                  </a:lnTo>
                  <a:lnTo>
                    <a:pt x="1423" y="481"/>
                  </a:lnTo>
                  <a:lnTo>
                    <a:pt x="1419" y="463"/>
                  </a:lnTo>
                  <a:lnTo>
                    <a:pt x="1415" y="444"/>
                  </a:lnTo>
                  <a:lnTo>
                    <a:pt x="1413" y="425"/>
                  </a:lnTo>
                  <a:lnTo>
                    <a:pt x="1411" y="405"/>
                  </a:lnTo>
                  <a:lnTo>
                    <a:pt x="1411" y="385"/>
                  </a:lnTo>
                  <a:lnTo>
                    <a:pt x="1411" y="366"/>
                  </a:lnTo>
                  <a:lnTo>
                    <a:pt x="1413" y="346"/>
                  </a:lnTo>
                  <a:lnTo>
                    <a:pt x="1415" y="327"/>
                  </a:lnTo>
                  <a:lnTo>
                    <a:pt x="1419" y="308"/>
                  </a:lnTo>
                  <a:lnTo>
                    <a:pt x="1423" y="288"/>
                  </a:lnTo>
                  <a:lnTo>
                    <a:pt x="1428" y="270"/>
                  </a:lnTo>
                  <a:lnTo>
                    <a:pt x="1431" y="261"/>
                  </a:lnTo>
                  <a:lnTo>
                    <a:pt x="1434" y="252"/>
                  </a:lnTo>
                  <a:lnTo>
                    <a:pt x="1437" y="243"/>
                  </a:lnTo>
                  <a:lnTo>
                    <a:pt x="1441" y="235"/>
                  </a:lnTo>
                  <a:lnTo>
                    <a:pt x="1448" y="218"/>
                  </a:lnTo>
                  <a:lnTo>
                    <a:pt x="1457" y="201"/>
                  </a:lnTo>
                  <a:lnTo>
                    <a:pt x="1466" y="185"/>
                  </a:lnTo>
                  <a:lnTo>
                    <a:pt x="1476" y="169"/>
                  </a:lnTo>
                  <a:lnTo>
                    <a:pt x="1486" y="154"/>
                  </a:lnTo>
                  <a:lnTo>
                    <a:pt x="1497" y="140"/>
                  </a:lnTo>
                  <a:lnTo>
                    <a:pt x="1503" y="133"/>
                  </a:lnTo>
                  <a:lnTo>
                    <a:pt x="1509" y="126"/>
                  </a:lnTo>
                  <a:lnTo>
                    <a:pt x="1522" y="113"/>
                  </a:lnTo>
                  <a:lnTo>
                    <a:pt x="1535" y="100"/>
                  </a:lnTo>
                  <a:lnTo>
                    <a:pt x="1542" y="94"/>
                  </a:lnTo>
                  <a:lnTo>
                    <a:pt x="1549" y="88"/>
                  </a:lnTo>
                  <a:lnTo>
                    <a:pt x="1563" y="76"/>
                  </a:lnTo>
                  <a:lnTo>
                    <a:pt x="1578" y="66"/>
                  </a:lnTo>
                  <a:lnTo>
                    <a:pt x="1594" y="56"/>
                  </a:lnTo>
                  <a:lnTo>
                    <a:pt x="1610" y="47"/>
                  </a:lnTo>
                  <a:lnTo>
                    <a:pt x="1626" y="38"/>
                  </a:lnTo>
                  <a:lnTo>
                    <a:pt x="1643" y="30"/>
                  </a:lnTo>
                  <a:lnTo>
                    <a:pt x="1652" y="27"/>
                  </a:lnTo>
                  <a:lnTo>
                    <a:pt x="1661" y="24"/>
                  </a:lnTo>
                  <a:lnTo>
                    <a:pt x="1669" y="20"/>
                  </a:lnTo>
                  <a:lnTo>
                    <a:pt x="1678" y="18"/>
                  </a:lnTo>
                  <a:lnTo>
                    <a:pt x="1697" y="12"/>
                  </a:lnTo>
                  <a:lnTo>
                    <a:pt x="1715" y="8"/>
                  </a:lnTo>
                  <a:lnTo>
                    <a:pt x="1725" y="6"/>
                  </a:lnTo>
                  <a:lnTo>
                    <a:pt x="1734" y="5"/>
                  </a:lnTo>
                  <a:lnTo>
                    <a:pt x="1753" y="2"/>
                  </a:lnTo>
                  <a:lnTo>
                    <a:pt x="1773" y="1"/>
                  </a:lnTo>
                  <a:lnTo>
                    <a:pt x="1793" y="0"/>
                  </a:lnTo>
                  <a:close/>
                  <a:moveTo>
                    <a:pt x="1793" y="661"/>
                  </a:moveTo>
                  <a:lnTo>
                    <a:pt x="1807" y="660"/>
                  </a:lnTo>
                  <a:lnTo>
                    <a:pt x="1821" y="659"/>
                  </a:lnTo>
                  <a:lnTo>
                    <a:pt x="1835" y="658"/>
                  </a:lnTo>
                  <a:lnTo>
                    <a:pt x="1848" y="655"/>
                  </a:lnTo>
                  <a:lnTo>
                    <a:pt x="1862" y="652"/>
                  </a:lnTo>
                  <a:lnTo>
                    <a:pt x="1876" y="648"/>
                  </a:lnTo>
                  <a:lnTo>
                    <a:pt x="1888" y="644"/>
                  </a:lnTo>
                  <a:lnTo>
                    <a:pt x="1901" y="639"/>
                  </a:lnTo>
                  <a:lnTo>
                    <a:pt x="1913" y="634"/>
                  </a:lnTo>
                  <a:lnTo>
                    <a:pt x="1925" y="628"/>
                  </a:lnTo>
                  <a:lnTo>
                    <a:pt x="1931" y="624"/>
                  </a:lnTo>
                  <a:lnTo>
                    <a:pt x="1937" y="621"/>
                  </a:lnTo>
                  <a:lnTo>
                    <a:pt x="1948" y="614"/>
                  </a:lnTo>
                  <a:lnTo>
                    <a:pt x="1959" y="606"/>
                  </a:lnTo>
                  <a:lnTo>
                    <a:pt x="1969" y="598"/>
                  </a:lnTo>
                  <a:lnTo>
                    <a:pt x="1979" y="589"/>
                  </a:lnTo>
                  <a:lnTo>
                    <a:pt x="1989" y="580"/>
                  </a:lnTo>
                  <a:lnTo>
                    <a:pt x="1998" y="571"/>
                  </a:lnTo>
                  <a:lnTo>
                    <a:pt x="2007" y="561"/>
                  </a:lnTo>
                  <a:lnTo>
                    <a:pt x="2015" y="550"/>
                  </a:lnTo>
                  <a:lnTo>
                    <a:pt x="2023" y="539"/>
                  </a:lnTo>
                  <a:lnTo>
                    <a:pt x="2030" y="528"/>
                  </a:lnTo>
                  <a:lnTo>
                    <a:pt x="2037" y="517"/>
                  </a:lnTo>
                  <a:lnTo>
                    <a:pt x="2043" y="505"/>
                  </a:lnTo>
                  <a:lnTo>
                    <a:pt x="2048" y="493"/>
                  </a:lnTo>
                  <a:lnTo>
                    <a:pt x="2053" y="480"/>
                  </a:lnTo>
                  <a:lnTo>
                    <a:pt x="2058" y="467"/>
                  </a:lnTo>
                  <a:lnTo>
                    <a:pt x="2061" y="454"/>
                  </a:lnTo>
                  <a:lnTo>
                    <a:pt x="2065" y="441"/>
                  </a:lnTo>
                  <a:lnTo>
                    <a:pt x="2067" y="427"/>
                  </a:lnTo>
                  <a:lnTo>
                    <a:pt x="2069" y="413"/>
                  </a:lnTo>
                  <a:lnTo>
                    <a:pt x="2070" y="399"/>
                  </a:lnTo>
                  <a:lnTo>
                    <a:pt x="2070" y="385"/>
                  </a:lnTo>
                  <a:lnTo>
                    <a:pt x="2070" y="371"/>
                  </a:lnTo>
                  <a:lnTo>
                    <a:pt x="2069" y="357"/>
                  </a:lnTo>
                  <a:lnTo>
                    <a:pt x="2067" y="344"/>
                  </a:lnTo>
                  <a:lnTo>
                    <a:pt x="2065" y="330"/>
                  </a:lnTo>
                  <a:lnTo>
                    <a:pt x="2061" y="317"/>
                  </a:lnTo>
                  <a:lnTo>
                    <a:pt x="2058" y="304"/>
                  </a:lnTo>
                  <a:lnTo>
                    <a:pt x="2053" y="290"/>
                  </a:lnTo>
                  <a:lnTo>
                    <a:pt x="2048" y="277"/>
                  </a:lnTo>
                  <a:lnTo>
                    <a:pt x="2043" y="265"/>
                  </a:lnTo>
                  <a:lnTo>
                    <a:pt x="2037" y="253"/>
                  </a:lnTo>
                  <a:lnTo>
                    <a:pt x="2030" y="241"/>
                  </a:lnTo>
                  <a:lnTo>
                    <a:pt x="2023" y="230"/>
                  </a:lnTo>
                  <a:lnTo>
                    <a:pt x="2015" y="219"/>
                  </a:lnTo>
                  <a:lnTo>
                    <a:pt x="2007" y="209"/>
                  </a:lnTo>
                  <a:lnTo>
                    <a:pt x="1998" y="199"/>
                  </a:lnTo>
                  <a:lnTo>
                    <a:pt x="1989" y="189"/>
                  </a:lnTo>
                  <a:lnTo>
                    <a:pt x="1979" y="180"/>
                  </a:lnTo>
                  <a:lnTo>
                    <a:pt x="1969" y="171"/>
                  </a:lnTo>
                  <a:lnTo>
                    <a:pt x="1959" y="163"/>
                  </a:lnTo>
                  <a:lnTo>
                    <a:pt x="1948" y="155"/>
                  </a:lnTo>
                  <a:lnTo>
                    <a:pt x="1937" y="147"/>
                  </a:lnTo>
                  <a:lnTo>
                    <a:pt x="1925" y="141"/>
                  </a:lnTo>
                  <a:lnTo>
                    <a:pt x="1913" y="135"/>
                  </a:lnTo>
                  <a:lnTo>
                    <a:pt x="1901" y="129"/>
                  </a:lnTo>
                  <a:lnTo>
                    <a:pt x="1888" y="124"/>
                  </a:lnTo>
                  <a:lnTo>
                    <a:pt x="1876" y="119"/>
                  </a:lnTo>
                  <a:lnTo>
                    <a:pt x="1862" y="116"/>
                  </a:lnTo>
                  <a:lnTo>
                    <a:pt x="1848" y="113"/>
                  </a:lnTo>
                  <a:lnTo>
                    <a:pt x="1835" y="110"/>
                  </a:lnTo>
                  <a:lnTo>
                    <a:pt x="1821" y="108"/>
                  </a:lnTo>
                  <a:lnTo>
                    <a:pt x="1807" y="107"/>
                  </a:lnTo>
                  <a:lnTo>
                    <a:pt x="1793" y="107"/>
                  </a:lnTo>
                  <a:lnTo>
                    <a:pt x="1779" y="107"/>
                  </a:lnTo>
                  <a:lnTo>
                    <a:pt x="1765" y="108"/>
                  </a:lnTo>
                  <a:lnTo>
                    <a:pt x="1751" y="110"/>
                  </a:lnTo>
                  <a:lnTo>
                    <a:pt x="1737" y="113"/>
                  </a:lnTo>
                  <a:lnTo>
                    <a:pt x="1724" y="116"/>
                  </a:lnTo>
                  <a:lnTo>
                    <a:pt x="1711" y="119"/>
                  </a:lnTo>
                  <a:lnTo>
                    <a:pt x="1698" y="124"/>
                  </a:lnTo>
                  <a:lnTo>
                    <a:pt x="1686" y="129"/>
                  </a:lnTo>
                  <a:lnTo>
                    <a:pt x="1674" y="135"/>
                  </a:lnTo>
                  <a:lnTo>
                    <a:pt x="1662" y="141"/>
                  </a:lnTo>
                  <a:lnTo>
                    <a:pt x="1650" y="147"/>
                  </a:lnTo>
                  <a:lnTo>
                    <a:pt x="1639" y="155"/>
                  </a:lnTo>
                  <a:lnTo>
                    <a:pt x="1628" y="163"/>
                  </a:lnTo>
                  <a:lnTo>
                    <a:pt x="1618" y="171"/>
                  </a:lnTo>
                  <a:lnTo>
                    <a:pt x="1608" y="180"/>
                  </a:lnTo>
                  <a:lnTo>
                    <a:pt x="1598" y="189"/>
                  </a:lnTo>
                  <a:lnTo>
                    <a:pt x="1589" y="199"/>
                  </a:lnTo>
                  <a:lnTo>
                    <a:pt x="1580" y="209"/>
                  </a:lnTo>
                  <a:lnTo>
                    <a:pt x="1572" y="219"/>
                  </a:lnTo>
                  <a:lnTo>
                    <a:pt x="1565" y="230"/>
                  </a:lnTo>
                  <a:lnTo>
                    <a:pt x="1557" y="241"/>
                  </a:lnTo>
                  <a:lnTo>
                    <a:pt x="1551" y="253"/>
                  </a:lnTo>
                  <a:lnTo>
                    <a:pt x="1545" y="265"/>
                  </a:lnTo>
                  <a:lnTo>
                    <a:pt x="1539" y="277"/>
                  </a:lnTo>
                  <a:lnTo>
                    <a:pt x="1534" y="290"/>
                  </a:lnTo>
                  <a:lnTo>
                    <a:pt x="1530" y="304"/>
                  </a:lnTo>
                  <a:lnTo>
                    <a:pt x="1526" y="317"/>
                  </a:lnTo>
                  <a:lnTo>
                    <a:pt x="1523" y="330"/>
                  </a:lnTo>
                  <a:lnTo>
                    <a:pt x="1520" y="344"/>
                  </a:lnTo>
                  <a:lnTo>
                    <a:pt x="1519" y="357"/>
                  </a:lnTo>
                  <a:lnTo>
                    <a:pt x="1518" y="371"/>
                  </a:lnTo>
                  <a:lnTo>
                    <a:pt x="1517" y="385"/>
                  </a:lnTo>
                  <a:lnTo>
                    <a:pt x="1518" y="399"/>
                  </a:lnTo>
                  <a:lnTo>
                    <a:pt x="1519" y="413"/>
                  </a:lnTo>
                  <a:lnTo>
                    <a:pt x="1520" y="427"/>
                  </a:lnTo>
                  <a:lnTo>
                    <a:pt x="1523" y="441"/>
                  </a:lnTo>
                  <a:lnTo>
                    <a:pt x="1526" y="454"/>
                  </a:lnTo>
                  <a:lnTo>
                    <a:pt x="1530" y="467"/>
                  </a:lnTo>
                  <a:lnTo>
                    <a:pt x="1534" y="480"/>
                  </a:lnTo>
                  <a:lnTo>
                    <a:pt x="1539" y="493"/>
                  </a:lnTo>
                  <a:lnTo>
                    <a:pt x="1545" y="505"/>
                  </a:lnTo>
                  <a:lnTo>
                    <a:pt x="1551" y="517"/>
                  </a:lnTo>
                  <a:lnTo>
                    <a:pt x="1557" y="528"/>
                  </a:lnTo>
                  <a:lnTo>
                    <a:pt x="1565" y="539"/>
                  </a:lnTo>
                  <a:lnTo>
                    <a:pt x="1572" y="550"/>
                  </a:lnTo>
                  <a:lnTo>
                    <a:pt x="1580" y="561"/>
                  </a:lnTo>
                  <a:lnTo>
                    <a:pt x="1589" y="571"/>
                  </a:lnTo>
                  <a:lnTo>
                    <a:pt x="1598" y="580"/>
                  </a:lnTo>
                  <a:lnTo>
                    <a:pt x="1608" y="589"/>
                  </a:lnTo>
                  <a:lnTo>
                    <a:pt x="1618" y="598"/>
                  </a:lnTo>
                  <a:lnTo>
                    <a:pt x="1628" y="606"/>
                  </a:lnTo>
                  <a:lnTo>
                    <a:pt x="1639" y="614"/>
                  </a:lnTo>
                  <a:lnTo>
                    <a:pt x="1650" y="621"/>
                  </a:lnTo>
                  <a:lnTo>
                    <a:pt x="1662" y="628"/>
                  </a:lnTo>
                  <a:lnTo>
                    <a:pt x="1674" y="634"/>
                  </a:lnTo>
                  <a:lnTo>
                    <a:pt x="1686" y="639"/>
                  </a:lnTo>
                  <a:lnTo>
                    <a:pt x="1698" y="644"/>
                  </a:lnTo>
                  <a:lnTo>
                    <a:pt x="1711" y="648"/>
                  </a:lnTo>
                  <a:lnTo>
                    <a:pt x="1724" y="652"/>
                  </a:lnTo>
                  <a:lnTo>
                    <a:pt x="1737" y="655"/>
                  </a:lnTo>
                  <a:lnTo>
                    <a:pt x="1751" y="658"/>
                  </a:lnTo>
                  <a:lnTo>
                    <a:pt x="1765" y="659"/>
                  </a:lnTo>
                  <a:lnTo>
                    <a:pt x="1779" y="660"/>
                  </a:lnTo>
                  <a:lnTo>
                    <a:pt x="1793" y="661"/>
                  </a:lnTo>
                  <a:close/>
                  <a:moveTo>
                    <a:pt x="2426" y="111"/>
                  </a:moveTo>
                  <a:lnTo>
                    <a:pt x="2235" y="111"/>
                  </a:lnTo>
                  <a:lnTo>
                    <a:pt x="2230" y="111"/>
                  </a:lnTo>
                  <a:lnTo>
                    <a:pt x="2227" y="109"/>
                  </a:lnTo>
                  <a:lnTo>
                    <a:pt x="2223" y="107"/>
                  </a:lnTo>
                  <a:lnTo>
                    <a:pt x="2220" y="105"/>
                  </a:lnTo>
                  <a:lnTo>
                    <a:pt x="2218" y="102"/>
                  </a:lnTo>
                  <a:lnTo>
                    <a:pt x="2216" y="98"/>
                  </a:lnTo>
                  <a:lnTo>
                    <a:pt x="2215" y="95"/>
                  </a:lnTo>
                  <a:lnTo>
                    <a:pt x="2214" y="91"/>
                  </a:lnTo>
                  <a:lnTo>
                    <a:pt x="2214" y="31"/>
                  </a:lnTo>
                  <a:lnTo>
                    <a:pt x="2215" y="27"/>
                  </a:lnTo>
                  <a:lnTo>
                    <a:pt x="2216" y="24"/>
                  </a:lnTo>
                  <a:lnTo>
                    <a:pt x="2218" y="20"/>
                  </a:lnTo>
                  <a:lnTo>
                    <a:pt x="2220" y="17"/>
                  </a:lnTo>
                  <a:lnTo>
                    <a:pt x="2223" y="15"/>
                  </a:lnTo>
                  <a:lnTo>
                    <a:pt x="2227" y="13"/>
                  </a:lnTo>
                  <a:lnTo>
                    <a:pt x="2230" y="11"/>
                  </a:lnTo>
                  <a:lnTo>
                    <a:pt x="2235" y="11"/>
                  </a:lnTo>
                  <a:lnTo>
                    <a:pt x="2727" y="11"/>
                  </a:lnTo>
                  <a:lnTo>
                    <a:pt x="2732" y="11"/>
                  </a:lnTo>
                  <a:lnTo>
                    <a:pt x="2736" y="13"/>
                  </a:lnTo>
                  <a:lnTo>
                    <a:pt x="2739" y="15"/>
                  </a:lnTo>
                  <a:lnTo>
                    <a:pt x="2742" y="17"/>
                  </a:lnTo>
                  <a:lnTo>
                    <a:pt x="2744" y="20"/>
                  </a:lnTo>
                  <a:lnTo>
                    <a:pt x="2746" y="24"/>
                  </a:lnTo>
                  <a:lnTo>
                    <a:pt x="2747" y="27"/>
                  </a:lnTo>
                  <a:lnTo>
                    <a:pt x="2748" y="31"/>
                  </a:lnTo>
                  <a:lnTo>
                    <a:pt x="2748" y="91"/>
                  </a:lnTo>
                  <a:lnTo>
                    <a:pt x="2747" y="95"/>
                  </a:lnTo>
                  <a:lnTo>
                    <a:pt x="2746" y="98"/>
                  </a:lnTo>
                  <a:lnTo>
                    <a:pt x="2744" y="102"/>
                  </a:lnTo>
                  <a:lnTo>
                    <a:pt x="2742" y="105"/>
                  </a:lnTo>
                  <a:lnTo>
                    <a:pt x="2739" y="107"/>
                  </a:lnTo>
                  <a:lnTo>
                    <a:pt x="2736" y="109"/>
                  </a:lnTo>
                  <a:lnTo>
                    <a:pt x="2732" y="111"/>
                  </a:lnTo>
                  <a:lnTo>
                    <a:pt x="2727" y="111"/>
                  </a:lnTo>
                  <a:lnTo>
                    <a:pt x="2536" y="111"/>
                  </a:lnTo>
                  <a:lnTo>
                    <a:pt x="2536" y="736"/>
                  </a:lnTo>
                  <a:lnTo>
                    <a:pt x="2536" y="740"/>
                  </a:lnTo>
                  <a:lnTo>
                    <a:pt x="2535" y="744"/>
                  </a:lnTo>
                  <a:lnTo>
                    <a:pt x="2533" y="747"/>
                  </a:lnTo>
                  <a:lnTo>
                    <a:pt x="2530" y="750"/>
                  </a:lnTo>
                  <a:lnTo>
                    <a:pt x="2527" y="753"/>
                  </a:lnTo>
                  <a:lnTo>
                    <a:pt x="2524" y="755"/>
                  </a:lnTo>
                  <a:lnTo>
                    <a:pt x="2520" y="756"/>
                  </a:lnTo>
                  <a:lnTo>
                    <a:pt x="2516" y="757"/>
                  </a:lnTo>
                  <a:lnTo>
                    <a:pt x="2446" y="757"/>
                  </a:lnTo>
                  <a:lnTo>
                    <a:pt x="2442" y="756"/>
                  </a:lnTo>
                  <a:lnTo>
                    <a:pt x="2438" y="755"/>
                  </a:lnTo>
                  <a:lnTo>
                    <a:pt x="2435" y="753"/>
                  </a:lnTo>
                  <a:lnTo>
                    <a:pt x="2432" y="750"/>
                  </a:lnTo>
                  <a:lnTo>
                    <a:pt x="2429" y="747"/>
                  </a:lnTo>
                  <a:lnTo>
                    <a:pt x="2427" y="744"/>
                  </a:lnTo>
                  <a:lnTo>
                    <a:pt x="2426" y="740"/>
                  </a:lnTo>
                  <a:lnTo>
                    <a:pt x="2426" y="736"/>
                  </a:lnTo>
                  <a:lnTo>
                    <a:pt x="2426" y="111"/>
                  </a:lnTo>
                  <a:close/>
                  <a:moveTo>
                    <a:pt x="2885" y="31"/>
                  </a:moveTo>
                  <a:lnTo>
                    <a:pt x="2885" y="27"/>
                  </a:lnTo>
                  <a:lnTo>
                    <a:pt x="2886" y="24"/>
                  </a:lnTo>
                  <a:lnTo>
                    <a:pt x="2888" y="20"/>
                  </a:lnTo>
                  <a:lnTo>
                    <a:pt x="2891" y="17"/>
                  </a:lnTo>
                  <a:lnTo>
                    <a:pt x="2893" y="15"/>
                  </a:lnTo>
                  <a:lnTo>
                    <a:pt x="2897" y="13"/>
                  </a:lnTo>
                  <a:lnTo>
                    <a:pt x="2901" y="11"/>
                  </a:lnTo>
                  <a:lnTo>
                    <a:pt x="2905" y="11"/>
                  </a:lnTo>
                  <a:lnTo>
                    <a:pt x="3331" y="11"/>
                  </a:lnTo>
                  <a:lnTo>
                    <a:pt x="3336" y="11"/>
                  </a:lnTo>
                  <a:lnTo>
                    <a:pt x="3340" y="13"/>
                  </a:lnTo>
                  <a:lnTo>
                    <a:pt x="3343" y="15"/>
                  </a:lnTo>
                  <a:lnTo>
                    <a:pt x="3346" y="17"/>
                  </a:lnTo>
                  <a:lnTo>
                    <a:pt x="3348" y="20"/>
                  </a:lnTo>
                  <a:lnTo>
                    <a:pt x="3350" y="24"/>
                  </a:lnTo>
                  <a:lnTo>
                    <a:pt x="3351" y="27"/>
                  </a:lnTo>
                  <a:lnTo>
                    <a:pt x="3352" y="31"/>
                  </a:lnTo>
                  <a:lnTo>
                    <a:pt x="3352" y="91"/>
                  </a:lnTo>
                  <a:lnTo>
                    <a:pt x="3351" y="95"/>
                  </a:lnTo>
                  <a:lnTo>
                    <a:pt x="3350" y="98"/>
                  </a:lnTo>
                  <a:lnTo>
                    <a:pt x="3348" y="102"/>
                  </a:lnTo>
                  <a:lnTo>
                    <a:pt x="3346" y="105"/>
                  </a:lnTo>
                  <a:lnTo>
                    <a:pt x="3343" y="107"/>
                  </a:lnTo>
                  <a:lnTo>
                    <a:pt x="3340" y="109"/>
                  </a:lnTo>
                  <a:lnTo>
                    <a:pt x="3336" y="111"/>
                  </a:lnTo>
                  <a:lnTo>
                    <a:pt x="3331" y="111"/>
                  </a:lnTo>
                  <a:lnTo>
                    <a:pt x="2994" y="111"/>
                  </a:lnTo>
                  <a:lnTo>
                    <a:pt x="2994" y="329"/>
                  </a:lnTo>
                  <a:lnTo>
                    <a:pt x="3278" y="329"/>
                  </a:lnTo>
                  <a:lnTo>
                    <a:pt x="3282" y="329"/>
                  </a:lnTo>
                  <a:lnTo>
                    <a:pt x="3286" y="331"/>
                  </a:lnTo>
                  <a:lnTo>
                    <a:pt x="3289" y="333"/>
                  </a:lnTo>
                  <a:lnTo>
                    <a:pt x="3292" y="335"/>
                  </a:lnTo>
                  <a:lnTo>
                    <a:pt x="3295" y="338"/>
                  </a:lnTo>
                  <a:lnTo>
                    <a:pt x="3297" y="342"/>
                  </a:lnTo>
                  <a:lnTo>
                    <a:pt x="3298" y="345"/>
                  </a:lnTo>
                  <a:lnTo>
                    <a:pt x="3298" y="349"/>
                  </a:lnTo>
                  <a:lnTo>
                    <a:pt x="3298" y="409"/>
                  </a:lnTo>
                  <a:lnTo>
                    <a:pt x="3298" y="413"/>
                  </a:lnTo>
                  <a:lnTo>
                    <a:pt x="3297" y="417"/>
                  </a:lnTo>
                  <a:lnTo>
                    <a:pt x="3295" y="420"/>
                  </a:lnTo>
                  <a:lnTo>
                    <a:pt x="3292" y="423"/>
                  </a:lnTo>
                  <a:lnTo>
                    <a:pt x="3289" y="426"/>
                  </a:lnTo>
                  <a:lnTo>
                    <a:pt x="3286" y="427"/>
                  </a:lnTo>
                  <a:lnTo>
                    <a:pt x="3282" y="429"/>
                  </a:lnTo>
                  <a:lnTo>
                    <a:pt x="3278" y="429"/>
                  </a:lnTo>
                  <a:lnTo>
                    <a:pt x="2994" y="429"/>
                  </a:lnTo>
                  <a:lnTo>
                    <a:pt x="2994" y="658"/>
                  </a:lnTo>
                  <a:lnTo>
                    <a:pt x="3331" y="658"/>
                  </a:lnTo>
                  <a:lnTo>
                    <a:pt x="3336" y="658"/>
                  </a:lnTo>
                  <a:lnTo>
                    <a:pt x="3340" y="659"/>
                  </a:lnTo>
                  <a:lnTo>
                    <a:pt x="3343" y="661"/>
                  </a:lnTo>
                  <a:lnTo>
                    <a:pt x="3346" y="664"/>
                  </a:lnTo>
                  <a:lnTo>
                    <a:pt x="3348" y="667"/>
                  </a:lnTo>
                  <a:lnTo>
                    <a:pt x="3350" y="670"/>
                  </a:lnTo>
                  <a:lnTo>
                    <a:pt x="3351" y="674"/>
                  </a:lnTo>
                  <a:lnTo>
                    <a:pt x="3352" y="678"/>
                  </a:lnTo>
                  <a:lnTo>
                    <a:pt x="3352" y="736"/>
                  </a:lnTo>
                  <a:lnTo>
                    <a:pt x="3351" y="740"/>
                  </a:lnTo>
                  <a:lnTo>
                    <a:pt x="3350" y="744"/>
                  </a:lnTo>
                  <a:lnTo>
                    <a:pt x="3348" y="747"/>
                  </a:lnTo>
                  <a:lnTo>
                    <a:pt x="3346" y="750"/>
                  </a:lnTo>
                  <a:lnTo>
                    <a:pt x="3343" y="753"/>
                  </a:lnTo>
                  <a:lnTo>
                    <a:pt x="3340" y="755"/>
                  </a:lnTo>
                  <a:lnTo>
                    <a:pt x="3336" y="756"/>
                  </a:lnTo>
                  <a:lnTo>
                    <a:pt x="3331" y="757"/>
                  </a:lnTo>
                  <a:lnTo>
                    <a:pt x="2905" y="757"/>
                  </a:lnTo>
                  <a:lnTo>
                    <a:pt x="2901" y="756"/>
                  </a:lnTo>
                  <a:lnTo>
                    <a:pt x="2897" y="755"/>
                  </a:lnTo>
                  <a:lnTo>
                    <a:pt x="2893" y="753"/>
                  </a:lnTo>
                  <a:lnTo>
                    <a:pt x="2891" y="750"/>
                  </a:lnTo>
                  <a:lnTo>
                    <a:pt x="2888" y="747"/>
                  </a:lnTo>
                  <a:lnTo>
                    <a:pt x="2886" y="744"/>
                  </a:lnTo>
                  <a:lnTo>
                    <a:pt x="2885" y="740"/>
                  </a:lnTo>
                  <a:lnTo>
                    <a:pt x="2885" y="736"/>
                  </a:lnTo>
                  <a:lnTo>
                    <a:pt x="2885" y="31"/>
                  </a:lnTo>
                  <a:close/>
                </a:path>
              </a:pathLst>
            </a:custGeom>
            <a:solidFill>
              <a:srgbClr val="40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314955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7" r:id="rId2"/>
    <p:sldLayoutId id="2147483728" r:id="rId3"/>
    <p:sldLayoutId id="2147483710" r:id="rId4"/>
    <p:sldLayoutId id="2147483733" r:id="rId5"/>
    <p:sldLayoutId id="2147483712" r:id="rId6"/>
    <p:sldLayoutId id="2147483714" r:id="rId7"/>
    <p:sldLayoutId id="2147483650" r:id="rId8"/>
    <p:sldLayoutId id="2147483699" r:id="rId9"/>
    <p:sldLayoutId id="2147483651" r:id="rId10"/>
    <p:sldLayoutId id="2147483698" r:id="rId11"/>
    <p:sldLayoutId id="2147483715" r:id="rId12"/>
    <p:sldLayoutId id="2147483716" r:id="rId13"/>
    <p:sldLayoutId id="2147483731" r:id="rId14"/>
    <p:sldLayoutId id="2147483730" r:id="rId15"/>
    <p:sldLayoutId id="2147483652" r:id="rId16"/>
    <p:sldLayoutId id="2147483668" r:id="rId17"/>
    <p:sldLayoutId id="2147483669" r:id="rId18"/>
    <p:sldLayoutId id="2147483705" r:id="rId19"/>
    <p:sldLayoutId id="2147483727" r:id="rId20"/>
    <p:sldLayoutId id="2147483729" r:id="rId21"/>
    <p:sldLayoutId id="2147483719" r:id="rId22"/>
    <p:sldLayoutId id="2147483721" r:id="rId23"/>
    <p:sldLayoutId id="2147483722" r:id="rId24"/>
    <p:sldLayoutId id="2147483723" r:id="rId25"/>
    <p:sldLayoutId id="2147483734" r:id="rId26"/>
    <p:sldLayoutId id="2147483732" r:id="rId27"/>
    <p:sldLayoutId id="2147483724" r:id="rId28"/>
    <p:sldLayoutId id="2147483725" r:id="rId29"/>
    <p:sldLayoutId id="2147483653" r:id="rId30"/>
    <p:sldLayoutId id="2147483706" r:id="rId31"/>
    <p:sldLayoutId id="2147483707" r:id="rId32"/>
    <p:sldLayoutId id="2147483708" r:id="rId33"/>
    <p:sldLayoutId id="2147483662" r:id="rId34"/>
    <p:sldLayoutId id="2147483654" r:id="rId35"/>
    <p:sldLayoutId id="2147483655" r:id="rId36"/>
    <p:sldLayoutId id="2147483703" r:id="rId37"/>
    <p:sldLayoutId id="2147483704" r:id="rId38"/>
    <p:sldLayoutId id="2147483700" r:id="rId39"/>
    <p:sldLayoutId id="2147483702" r:id="rId40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 spc="-3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10000"/>
        </a:lnSpc>
        <a:spcBef>
          <a:spcPts val="1000"/>
        </a:spcBef>
        <a:buClr>
          <a:schemeClr val="tx1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623888" indent="-273050" algn="l" defTabSz="914400" rtl="0" eaLnBrk="1" latinLnBrk="0" hangingPunct="1">
        <a:lnSpc>
          <a:spcPct val="11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989013" indent="-266700" algn="l" defTabSz="914400" rtl="0" eaLnBrk="1" latinLnBrk="0" hangingPunct="1">
        <a:lnSpc>
          <a:spcPct val="11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38275" indent="-265113" algn="l" defTabSz="914400" rtl="0" eaLnBrk="1" latinLnBrk="0" hangingPunct="1">
        <a:lnSpc>
          <a:spcPct val="11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78013" indent="-274638" algn="l" defTabSz="914400" rtl="0" eaLnBrk="1" latinLnBrk="0" hangingPunct="1">
        <a:lnSpc>
          <a:spcPct val="11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244725" indent="-266700" algn="l" defTabSz="914400" rtl="0" eaLnBrk="1" latinLnBrk="0" hangingPunct="1">
        <a:lnSpc>
          <a:spcPct val="11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693988" indent="-265113" algn="l" defTabSz="914400" rtl="0" eaLnBrk="1" latinLnBrk="0" hangingPunct="1">
        <a:lnSpc>
          <a:spcPct val="11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051175" indent="-274638" algn="l" defTabSz="914400" rtl="0" eaLnBrk="1" latinLnBrk="0" hangingPunct="1">
        <a:lnSpc>
          <a:spcPct val="11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408363" indent="-266700" algn="l" defTabSz="914400" rtl="0" eaLnBrk="1" latinLnBrk="0" hangingPunct="1">
        <a:lnSpc>
          <a:spcPct val="11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hellomantle.com/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21.tm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42899C7-8599-4D12-994F-76D01786D6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0" imgH="333" progId="TCLayout.ActiveDocument.1">
                  <p:embed/>
                </p:oleObj>
              </mc:Choice>
              <mc:Fallback>
                <p:oleObj name="think-cell Slide" r:id="rId4" imgW="340" imgH="33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42899C7-8599-4D12-994F-76D01786D6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E6B67C8C-C8EE-4EB8-BB8E-3B616278F49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54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Nytt</a:t>
            </a:r>
            <a:r>
              <a:rPr lang="en-US" dirty="0"/>
              <a:t> Sortiment  | Kronans Apotek</a:t>
            </a:r>
            <a:br>
              <a:rPr lang="en-US" dirty="0"/>
            </a:br>
            <a:r>
              <a:rPr lang="sv-SE" sz="1600" dirty="0">
                <a:solidFill>
                  <a:schemeClr val="tx1"/>
                </a:solidFill>
              </a:rPr>
              <a:t>På följande bilder ska </a:t>
            </a:r>
            <a:r>
              <a:rPr lang="sv-SE" sz="1600" dirty="0">
                <a:solidFill>
                  <a:srgbClr val="FF7900"/>
                </a:solidFill>
              </a:rPr>
              <a:t>orange text ersättas med rätt information </a:t>
            </a:r>
            <a:r>
              <a:rPr lang="sv-SE" sz="1600" dirty="0">
                <a:solidFill>
                  <a:schemeClr val="tx1"/>
                </a:solidFill>
              </a:rPr>
              <a:t>och grå text ska vara kvar</a:t>
            </a:r>
            <a:br>
              <a:rPr lang="en-US" sz="1600" dirty="0"/>
            </a:br>
            <a:endParaRPr lang="en-US" sz="1600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BC1F76-4387-4164-ADDF-0F2AD37A6F1C}" type="datetime1">
              <a:rPr lang="fi-FI" smtClean="0"/>
              <a:t>31.3.2025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0B285B-2D20-4CC2-81CD-215A1F1E1130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69274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F51F4AB-3391-4537-928E-CE188A4C6B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A52D3B-0A82-452A-B151-8CF419CA90E8}" type="datetime1">
              <a:rPr lang="fi-FI" smtClean="0"/>
              <a:t>31.3.2025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026684-DC61-4273-BB34-C8274E8AD0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0B285B-2D20-4CC2-81CD-215A1F1E1130}" type="slidenum">
              <a:rPr lang="en-US" smtClean="0"/>
              <a:t>2</a:t>
            </a:fld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87D3F6F7-C478-4927-9134-55A3A6F61AF8}"/>
              </a:ext>
            </a:extLst>
          </p:cNvPr>
          <p:cNvSpPr/>
          <p:nvPr/>
        </p:nvSpPr>
        <p:spPr>
          <a:xfrm>
            <a:off x="5765571" y="1606011"/>
            <a:ext cx="6163073" cy="4757951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52000" rtlCol="0" anchor="t"/>
          <a:lstStyle/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nn-NO" sz="1200" b="1" dirty="0">
                <a:solidFill>
                  <a:srgbClr val="756F6F"/>
                </a:solidFill>
              </a:rPr>
              <a:t>Fyll i : </a:t>
            </a:r>
            <a:r>
              <a:rPr lang="nn-NO" sz="1200" b="1" dirty="0">
                <a:solidFill>
                  <a:srgbClr val="FDA100"/>
                </a:solidFill>
              </a:rPr>
              <a:t>Produktserie  xx alt. produktnamn xx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nn-NO" sz="1200" b="1" dirty="0">
                <a:solidFill>
                  <a:schemeClr val="tx2">
                    <a:lumMod val="75000"/>
                  </a:schemeClr>
                </a:solidFill>
              </a:rPr>
              <a:t>Hur många artiklar består serien av?: </a:t>
            </a:r>
            <a:r>
              <a:rPr lang="nn-NO" sz="1200" b="1" dirty="0">
                <a:solidFill>
                  <a:srgbClr val="FDA100"/>
                </a:solidFill>
              </a:rPr>
              <a:t>Serien består av 20 st artiklar inom hudvård 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nn-NO" sz="1200" b="1" dirty="0">
                <a:solidFill>
                  <a:schemeClr val="tx2">
                    <a:lumMod val="75000"/>
                  </a:schemeClr>
                </a:solidFill>
              </a:rPr>
              <a:t>Prisläge :</a:t>
            </a:r>
            <a:r>
              <a:rPr lang="nn-NO" sz="1200" b="1" dirty="0">
                <a:solidFill>
                  <a:srgbClr val="FDA100"/>
                </a:solidFill>
              </a:rPr>
              <a:t>299- 599Sek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nn-NO" sz="1200" b="1" dirty="0">
                <a:solidFill>
                  <a:schemeClr val="tx2">
                    <a:lumMod val="75000"/>
                  </a:schemeClr>
                </a:solidFill>
              </a:rPr>
              <a:t>Kort fakta: </a:t>
            </a:r>
            <a:r>
              <a:rPr lang="sv-SE" sz="1200" b="1" dirty="0">
                <a:solidFill>
                  <a:srgbClr val="FDA100"/>
                </a:solidFill>
              </a:rPr>
              <a:t>Kort beskrivning av produkt/produkterna Vad är unikt med produkten jämfört med övriga produkter inom denna kategori. Innehåller produkterna någon unik ingrediens  </a:t>
            </a:r>
            <a:endParaRPr lang="nn-NO" sz="1200" b="1" dirty="0">
              <a:solidFill>
                <a:schemeClr val="tx2">
                  <a:lumMod val="75000"/>
                </a:schemeClr>
              </a:solidFill>
            </a:endParaRP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nn-NO" sz="1200" b="1" dirty="0">
                <a:solidFill>
                  <a:schemeClr val="tx2">
                    <a:lumMod val="75000"/>
                  </a:schemeClr>
                </a:solidFill>
              </a:rPr>
              <a:t>Tre st säljuspar/ säljagument till kund </a:t>
            </a:r>
            <a:br>
              <a:rPr lang="nn-NO" sz="1200" b="1" dirty="0">
                <a:solidFill>
                  <a:schemeClr val="tx2">
                    <a:lumMod val="75000"/>
                  </a:schemeClr>
                </a:solidFill>
              </a:rPr>
            </a:br>
            <a:r>
              <a:rPr lang="nn-NO" sz="1200" b="1" dirty="0">
                <a:solidFill>
                  <a:srgbClr val="FD9D31"/>
                </a:solidFill>
              </a:rPr>
              <a:t>1: Serien är tillverkad i Sverige </a:t>
            </a:r>
            <a:br>
              <a:rPr lang="nn-NO" sz="1200" b="1" dirty="0">
                <a:solidFill>
                  <a:srgbClr val="FD9D31"/>
                </a:solidFill>
              </a:rPr>
            </a:br>
            <a:r>
              <a:rPr lang="nn-NO" sz="1200" b="1" dirty="0">
                <a:solidFill>
                  <a:srgbClr val="FD9D31"/>
                </a:solidFill>
              </a:rPr>
              <a:t>2: Serien har en </a:t>
            </a:r>
            <a:r>
              <a:rPr lang="sv-SE" sz="1200" b="1" dirty="0">
                <a:solidFill>
                  <a:srgbClr val="FD9D31"/>
                </a:solidFill>
              </a:rPr>
              <a:t>ingrediens</a:t>
            </a:r>
            <a:r>
              <a:rPr lang="nn-NO" sz="1200" b="1" dirty="0">
                <a:solidFill>
                  <a:srgbClr val="FD9D31"/>
                </a:solidFill>
              </a:rPr>
              <a:t> som motverkar torr hy</a:t>
            </a:r>
            <a:br>
              <a:rPr lang="nn-NO" sz="1200" b="1" dirty="0">
                <a:solidFill>
                  <a:srgbClr val="FD9D31"/>
                </a:solidFill>
              </a:rPr>
            </a:br>
            <a:r>
              <a:rPr lang="nn-NO" sz="1200" b="1" dirty="0">
                <a:solidFill>
                  <a:srgbClr val="FD9D31"/>
                </a:solidFill>
              </a:rPr>
              <a:t>3: Serien vänder sig till alla med torr hy inom åldrarna 20-50 </a:t>
            </a:r>
            <a:endParaRPr lang="nn-NO" sz="1200" b="1" dirty="0">
              <a:solidFill>
                <a:schemeClr val="tx2">
                  <a:lumMod val="75000"/>
                </a:schemeClr>
              </a:solidFill>
            </a:endParaRP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nn-NO" sz="1200" b="1" dirty="0">
                <a:solidFill>
                  <a:schemeClr val="tx2">
                    <a:lumMod val="75000"/>
                  </a:schemeClr>
                </a:solidFill>
              </a:rPr>
              <a:t>Är produkten vegansk? </a:t>
            </a:r>
            <a:r>
              <a:rPr lang="nn-NO" sz="1200" b="1" dirty="0">
                <a:solidFill>
                  <a:srgbClr val="FDA100"/>
                </a:solidFill>
              </a:rPr>
              <a:t>JA el NEJ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nn-NO" sz="1200" b="1" dirty="0">
                <a:solidFill>
                  <a:srgbClr val="756F6F"/>
                </a:solidFill>
              </a:rPr>
              <a:t>Innehåller produkten parfym?: </a:t>
            </a:r>
            <a:r>
              <a:rPr lang="nn-NO" sz="1200" b="1" dirty="0">
                <a:solidFill>
                  <a:srgbClr val="FDA100"/>
                </a:solidFill>
              </a:rPr>
              <a:t>JA el NEJ</a:t>
            </a:r>
            <a:endParaRPr lang="nn-NO" sz="1200" b="1" dirty="0">
              <a:solidFill>
                <a:srgbClr val="000000"/>
              </a:solidFill>
            </a:endParaRP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sv-SE" sz="1200" b="1" dirty="0">
                <a:solidFill>
                  <a:schemeClr val="tx2">
                    <a:lumMod val="75000"/>
                  </a:schemeClr>
                </a:solidFill>
              </a:rPr>
              <a:t>Mer info finner ni länk:  </a:t>
            </a:r>
            <a:r>
              <a:rPr lang="sv-SE" sz="1200" b="1" dirty="0">
                <a:solidFill>
                  <a:srgbClr val="FDA100"/>
                </a:solidFill>
              </a:rPr>
              <a:t>fyll i er länk till hemsidan</a:t>
            </a:r>
            <a:br>
              <a:rPr lang="sv-SE" sz="1200" dirty="0">
                <a:solidFill>
                  <a:srgbClr val="000000"/>
                </a:solidFill>
              </a:rPr>
            </a:br>
            <a:r>
              <a:rPr lang="sv-SE" sz="1200" dirty="0">
                <a:solidFill>
                  <a:srgbClr val="000000"/>
                </a:solidFill>
                <a:hlinkClick r:id="rId3"/>
              </a:rPr>
              <a:t>https://www.hellomantle.com/</a:t>
            </a:r>
            <a:endParaRPr lang="sv-SE" sz="1200" dirty="0">
              <a:solidFill>
                <a:srgbClr val="000000"/>
              </a:solidFill>
            </a:endParaRPr>
          </a:p>
          <a:p>
            <a:pPr>
              <a:spcAft>
                <a:spcPts val="1200"/>
              </a:spcAft>
            </a:pPr>
            <a:br>
              <a:rPr lang="nn-NO" sz="1200" dirty="0">
                <a:solidFill>
                  <a:srgbClr val="000000"/>
                </a:solidFill>
              </a:rPr>
            </a:br>
            <a:endParaRPr lang="nn-NO" sz="1200" dirty="0">
              <a:solidFill>
                <a:srgbClr val="000000"/>
              </a:solidFill>
            </a:endParaRPr>
          </a:p>
          <a:p>
            <a:pPr>
              <a:spcAft>
                <a:spcPts val="1200"/>
              </a:spcAft>
            </a:pPr>
            <a:endParaRPr lang="nn-NO" sz="1200" b="1" dirty="0">
              <a:solidFill>
                <a:srgbClr val="000000"/>
              </a:solidFill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nn-NO" sz="1000" dirty="0">
              <a:solidFill>
                <a:schemeClr val="bg2">
                  <a:lumMod val="50000"/>
                </a:schemeClr>
              </a:solidFill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nn-NO" sz="1000" dirty="0">
              <a:solidFill>
                <a:schemeClr val="bg2">
                  <a:lumMod val="50000"/>
                </a:schemeClr>
              </a:solidFill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nn-NO" sz="1000" dirty="0">
              <a:solidFill>
                <a:schemeClr val="bg2">
                  <a:lumMod val="50000"/>
                </a:schemeClr>
              </a:solidFill>
            </a:endParaRPr>
          </a:p>
          <a:p>
            <a:pPr>
              <a:spcAft>
                <a:spcPts val="1200"/>
              </a:spcAft>
            </a:pPr>
            <a:endParaRPr lang="nn-NO" sz="1000" dirty="0">
              <a:solidFill>
                <a:schemeClr val="bg2">
                  <a:lumMod val="50000"/>
                </a:schemeClr>
              </a:solidFill>
            </a:endParaRPr>
          </a:p>
          <a:p>
            <a:pPr>
              <a:spcAft>
                <a:spcPts val="1200"/>
              </a:spcAft>
            </a:pPr>
            <a:endParaRPr lang="nn-NO" sz="1000" dirty="0">
              <a:solidFill>
                <a:srgbClr val="FF0000"/>
              </a:solidFill>
            </a:endParaRPr>
          </a:p>
          <a:p>
            <a:pPr>
              <a:spcAft>
                <a:spcPts val="1200"/>
              </a:spcAft>
            </a:pPr>
            <a:endParaRPr lang="nn-NO" sz="1050" dirty="0">
              <a:solidFill>
                <a:schemeClr val="tx1"/>
              </a:solidFill>
            </a:endParaRPr>
          </a:p>
        </p:txBody>
      </p:sp>
      <p:sp>
        <p:nvSpPr>
          <p:cNvPr id="37" name="TextBox 21">
            <a:extLst>
              <a:ext uri="{FF2B5EF4-FFF2-40B4-BE49-F238E27FC236}">
                <a16:creationId xmlns:a16="http://schemas.microsoft.com/office/drawing/2014/main" id="{CEF3B545-1B0B-49C7-8285-4DC91E855356}"/>
              </a:ext>
            </a:extLst>
          </p:cNvPr>
          <p:cNvSpPr txBox="1"/>
          <p:nvPr/>
        </p:nvSpPr>
        <p:spPr>
          <a:xfrm>
            <a:off x="5753798" y="1224095"/>
            <a:ext cx="6174846" cy="307777"/>
          </a:xfrm>
          <a:prstGeom prst="rect">
            <a:avLst/>
          </a:prstGeom>
          <a:solidFill>
            <a:srgbClr val="FDA1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sv-SE" sz="1400" b="1" dirty="0">
                <a:solidFill>
                  <a:schemeClr val="bg1"/>
                </a:solidFill>
              </a:rPr>
              <a:t>Fakta </a:t>
            </a:r>
            <a:r>
              <a:rPr lang="sv-SE" sz="1400" b="1" dirty="0"/>
              <a:t> </a:t>
            </a:r>
          </a:p>
        </p:txBody>
      </p:sp>
      <p:sp>
        <p:nvSpPr>
          <p:cNvPr id="44" name="Rectangle: Rounded Corners 68">
            <a:extLst>
              <a:ext uri="{FF2B5EF4-FFF2-40B4-BE49-F238E27FC236}">
                <a16:creationId xmlns:a16="http://schemas.microsoft.com/office/drawing/2014/main" id="{34D08053-6A83-4734-8EDA-8CE19D002C73}"/>
              </a:ext>
            </a:extLst>
          </p:cNvPr>
          <p:cNvSpPr/>
          <p:nvPr/>
        </p:nvSpPr>
        <p:spPr>
          <a:xfrm>
            <a:off x="414919" y="1606012"/>
            <a:ext cx="4672970" cy="4757951"/>
          </a:xfrm>
          <a:prstGeom prst="roundRect">
            <a:avLst>
              <a:gd name="adj" fmla="val 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16000" rtlCol="0" anchor="t"/>
          <a:lstStyle/>
          <a:p>
            <a:pPr lvl="1"/>
            <a:endParaRPr lang="sv-SE" sz="1200">
              <a:solidFill>
                <a:schemeClr val="tx1"/>
              </a:solidFill>
            </a:endParaRPr>
          </a:p>
        </p:txBody>
      </p:sp>
      <p:sp>
        <p:nvSpPr>
          <p:cNvPr id="53" name="Isosceles Triangle 7">
            <a:extLst>
              <a:ext uri="{FF2B5EF4-FFF2-40B4-BE49-F238E27FC236}">
                <a16:creationId xmlns:a16="http://schemas.microsoft.com/office/drawing/2014/main" id="{B2F3F89B-AA95-494D-933E-E3B43B33EAE8}"/>
              </a:ext>
            </a:extLst>
          </p:cNvPr>
          <p:cNvSpPr/>
          <p:nvPr/>
        </p:nvSpPr>
        <p:spPr>
          <a:xfrm rot="5400000">
            <a:off x="4361211" y="4072608"/>
            <a:ext cx="2160001" cy="152565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TextBox 20">
            <a:extLst>
              <a:ext uri="{FF2B5EF4-FFF2-40B4-BE49-F238E27FC236}">
                <a16:creationId xmlns:a16="http://schemas.microsoft.com/office/drawing/2014/main" id="{1255A5FA-C22E-4474-8887-3497A27BD845}"/>
              </a:ext>
            </a:extLst>
          </p:cNvPr>
          <p:cNvSpPr txBox="1"/>
          <p:nvPr/>
        </p:nvSpPr>
        <p:spPr>
          <a:xfrm>
            <a:off x="407989" y="1224096"/>
            <a:ext cx="4672970" cy="307777"/>
          </a:xfrm>
          <a:prstGeom prst="rect">
            <a:avLst/>
          </a:prstGeom>
          <a:solidFill>
            <a:srgbClr val="FD9D31"/>
          </a:solidFill>
        </p:spPr>
        <p:txBody>
          <a:bodyPr wrap="square" rtlCol="0">
            <a:spAutoFit/>
          </a:bodyPr>
          <a:lstStyle/>
          <a:p>
            <a:pPr algn="ctr"/>
            <a:r>
              <a:rPr lang="sv-SE" sz="1400" b="1" u="sng" dirty="0">
                <a:solidFill>
                  <a:schemeClr val="bg1"/>
                </a:solidFill>
              </a:rPr>
              <a:t>Varumärkets namn </a:t>
            </a:r>
            <a:endParaRPr lang="sv-SE" sz="800" b="1" u="sng" dirty="0">
              <a:solidFill>
                <a:schemeClr val="bg1"/>
              </a:solidFill>
            </a:endParaRPr>
          </a:p>
        </p:txBody>
      </p:sp>
      <p:sp>
        <p:nvSpPr>
          <p:cNvPr id="30" name="Title 4">
            <a:extLst>
              <a:ext uri="{FF2B5EF4-FFF2-40B4-BE49-F238E27FC236}">
                <a16:creationId xmlns:a16="http://schemas.microsoft.com/office/drawing/2014/main" id="{77837220-0C70-4D01-9F65-C21C5EC5F8D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5514" y="278071"/>
            <a:ext cx="9432925" cy="100806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3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dirty="0">
                <a:solidFill>
                  <a:srgbClr val="FD9D31"/>
                </a:solidFill>
              </a:rPr>
              <a:t> Nytt sortiment | Kronans Apotek | Revidering v. </a:t>
            </a:r>
            <a:br>
              <a:rPr lang="sv-SE" dirty="0">
                <a:solidFill>
                  <a:srgbClr val="FD9D31"/>
                </a:solidFill>
              </a:rPr>
            </a:br>
            <a:endParaRPr lang="sv-SE" i="1" dirty="0">
              <a:solidFill>
                <a:srgbClr val="FD9D31"/>
              </a:solidFill>
            </a:endParaRPr>
          </a:p>
        </p:txBody>
      </p:sp>
      <p:pic>
        <p:nvPicPr>
          <p:cNvPr id="14" name="Bildobjekt 13">
            <a:extLst>
              <a:ext uri="{FF2B5EF4-FFF2-40B4-BE49-F238E27FC236}">
                <a16:creationId xmlns:a16="http://schemas.microsoft.com/office/drawing/2014/main" id="{CF2943A6-27DC-4E4C-895F-FE290370D57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0297" y="1870898"/>
            <a:ext cx="3168354" cy="3168354"/>
          </a:xfrm>
          <a:prstGeom prst="rect">
            <a:avLst/>
          </a:prstGeom>
          <a:ln>
            <a:solidFill>
              <a:srgbClr val="C00000"/>
            </a:solidFill>
          </a:ln>
        </p:spPr>
      </p:pic>
      <p:sp>
        <p:nvSpPr>
          <p:cNvPr id="16" name="Platshållare för innehåll 9">
            <a:extLst>
              <a:ext uri="{FF2B5EF4-FFF2-40B4-BE49-F238E27FC236}">
                <a16:creationId xmlns:a16="http://schemas.microsoft.com/office/drawing/2014/main" id="{591B7DEA-552D-4BDF-AE83-F9D35B131FE8}"/>
              </a:ext>
            </a:extLst>
          </p:cNvPr>
          <p:cNvSpPr txBox="1">
            <a:spLocks/>
          </p:cNvSpPr>
          <p:nvPr/>
        </p:nvSpPr>
        <p:spPr>
          <a:xfrm>
            <a:off x="1161571" y="5278821"/>
            <a:ext cx="3303313" cy="420522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duktbild/produktbilder</a:t>
            </a:r>
          </a:p>
        </p:txBody>
      </p:sp>
    </p:spTree>
    <p:extLst>
      <p:ext uri="{BB962C8B-B14F-4D97-AF65-F5344CB8AC3E}">
        <p14:creationId xmlns:p14="http://schemas.microsoft.com/office/powerpoint/2010/main" val="2269993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u7ZdudH8a7LQ_FO_JkiA"/>
</p:tagLst>
</file>

<file path=ppt/theme/theme1.xml><?xml version="1.0" encoding="utf-8"?>
<a:theme xmlns:a="http://schemas.openxmlformats.org/drawingml/2006/main" name="Kronans">
  <a:themeElements>
    <a:clrScheme name="Oriola 2018">
      <a:dk1>
        <a:srgbClr val="756F6F"/>
      </a:dk1>
      <a:lt1>
        <a:srgbClr val="FFFFFF"/>
      </a:lt1>
      <a:dk2>
        <a:srgbClr val="A29791"/>
      </a:dk2>
      <a:lt2>
        <a:srgbClr val="E7E6E6"/>
      </a:lt2>
      <a:accent1>
        <a:srgbClr val="FFA000"/>
      </a:accent1>
      <a:accent2>
        <a:srgbClr val="2B3E5B"/>
      </a:accent2>
      <a:accent3>
        <a:srgbClr val="A29790"/>
      </a:accent3>
      <a:accent4>
        <a:srgbClr val="5B78A5"/>
      </a:accent4>
      <a:accent5>
        <a:srgbClr val="CBD7E6"/>
      </a:accent5>
      <a:accent6>
        <a:srgbClr val="756F6F"/>
      </a:accent6>
      <a:hlink>
        <a:srgbClr val="5A78A5"/>
      </a:hlink>
      <a:folHlink>
        <a:srgbClr val="FFA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Apotek_template_190531" id="{D74E3C88-D3E4-0946-8611-57A2B7CD77FE}" vid="{8AD43AA0-2655-144A-AEBF-239FCD533514}"/>
    </a:ext>
  </a:extLst>
</a:theme>
</file>

<file path=ppt/theme/theme2.xml><?xml version="1.0" encoding="utf-8"?>
<a:theme xmlns:a="http://schemas.openxmlformats.org/drawingml/2006/main" name="Office Theme">
  <a:themeElements>
    <a:clrScheme name="Oriola 2018">
      <a:dk1>
        <a:srgbClr val="756F6F"/>
      </a:dk1>
      <a:lt1>
        <a:srgbClr val="FFFFFF"/>
      </a:lt1>
      <a:dk2>
        <a:srgbClr val="A29791"/>
      </a:dk2>
      <a:lt2>
        <a:srgbClr val="E7E6E6"/>
      </a:lt2>
      <a:accent1>
        <a:srgbClr val="FFA000"/>
      </a:accent1>
      <a:accent2>
        <a:srgbClr val="2B3E5B"/>
      </a:accent2>
      <a:accent3>
        <a:srgbClr val="A29790"/>
      </a:accent3>
      <a:accent4>
        <a:srgbClr val="5B78A5"/>
      </a:accent4>
      <a:accent5>
        <a:srgbClr val="CBD7E6"/>
      </a:accent5>
      <a:accent6>
        <a:srgbClr val="756F6F"/>
      </a:accent6>
      <a:hlink>
        <a:srgbClr val="5A78A5"/>
      </a:hlink>
      <a:folHlink>
        <a:srgbClr val="FFA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riola 2018">
      <a:dk1>
        <a:srgbClr val="756F6F"/>
      </a:dk1>
      <a:lt1>
        <a:srgbClr val="FFFFFF"/>
      </a:lt1>
      <a:dk2>
        <a:srgbClr val="A29791"/>
      </a:dk2>
      <a:lt2>
        <a:srgbClr val="E7E6E6"/>
      </a:lt2>
      <a:accent1>
        <a:srgbClr val="FFA000"/>
      </a:accent1>
      <a:accent2>
        <a:srgbClr val="2B3E5B"/>
      </a:accent2>
      <a:accent3>
        <a:srgbClr val="A29790"/>
      </a:accent3>
      <a:accent4>
        <a:srgbClr val="5B78A5"/>
      </a:accent4>
      <a:accent5>
        <a:srgbClr val="CBD7E6"/>
      </a:accent5>
      <a:accent6>
        <a:srgbClr val="756F6F"/>
      </a:accent6>
      <a:hlink>
        <a:srgbClr val="5A78A5"/>
      </a:hlink>
      <a:folHlink>
        <a:srgbClr val="FFA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8130A3DA947324C9C8E1A6C97C92A9B" ma:contentTypeVersion="11" ma:contentTypeDescription="Skapa ett nytt dokument." ma:contentTypeScope="" ma:versionID="583de8fb8f6f168337f428064e530e52">
  <xsd:schema xmlns:xsd="http://www.w3.org/2001/XMLSchema" xmlns:xs="http://www.w3.org/2001/XMLSchema" xmlns:p="http://schemas.microsoft.com/office/2006/metadata/properties" xmlns:ns2="41921a93-e2c8-41c0-9e4c-da4deb834170" xmlns:ns3="a650b5cc-48b0-44be-a6fb-b45afdbb1d37" targetNamespace="http://schemas.microsoft.com/office/2006/metadata/properties" ma:root="true" ma:fieldsID="0c09501aaf833afad05b2af942ebad27" ns2:_="" ns3:_="">
    <xsd:import namespace="41921a93-e2c8-41c0-9e4c-da4deb834170"/>
    <xsd:import namespace="a650b5cc-48b0-44be-a6fb-b45afdbb1d3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1921a93-e2c8-41c0-9e4c-da4deb83417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Bildmarkeringar" ma:readOnly="false" ma:fieldId="{5cf76f15-5ced-4ddc-b409-7134ff3c332f}" ma:taxonomyMulti="true" ma:sspId="575b20e4-694d-462a-96bf-b7e949711f0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0b5cc-48b0-44be-a6fb-b45afdbb1d37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da898cff-8681-42f6-a16b-659259b2a894}" ma:internalName="TaxCatchAll" ma:showField="CatchAllData" ma:web="a650b5cc-48b0-44be-a6fb-b45afdbb1d3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1921a93-e2c8-41c0-9e4c-da4deb834170">
      <Terms xmlns="http://schemas.microsoft.com/office/infopath/2007/PartnerControls"/>
    </lcf76f155ced4ddcb4097134ff3c332f>
    <TaxCatchAll xmlns="a650b5cc-48b0-44be-a6fb-b45afdbb1d37" xsi:nil="true"/>
  </documentManagement>
</p:properties>
</file>

<file path=customXml/itemProps1.xml><?xml version="1.0" encoding="utf-8"?>
<ds:datastoreItem xmlns:ds="http://schemas.openxmlformats.org/officeDocument/2006/customXml" ds:itemID="{3C51C481-970D-4E29-BA11-E1A9F33624A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1921a93-e2c8-41c0-9e4c-da4deb834170"/>
    <ds:schemaRef ds:uri="a650b5cc-48b0-44be-a6fb-b45afdbb1d3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637DC33-6362-4BB5-97F3-0C79D1FCCAF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9A5ADEB-8371-401E-8F66-6C6B9B345839}">
  <ds:schemaRefs>
    <ds:schemaRef ds:uri="http://www.w3.org/XML/1998/namespace"/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schemas.microsoft.com/office/2006/metadata/properties"/>
    <ds:schemaRef ds:uri="http://purl.org/dc/dcmitype/"/>
    <ds:schemaRef ds:uri="http://purl.org/dc/elements/1.1/"/>
    <ds:schemaRef ds:uri="http://schemas.openxmlformats.org/package/2006/metadata/core-properties"/>
    <ds:schemaRef ds:uri="a650b5cc-48b0-44be-a6fb-b45afdbb1d37"/>
    <ds:schemaRef ds:uri="41921a93-e2c8-41c0-9e4c-da4deb834170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potek_template</Template>
  <TotalTime>27523</TotalTime>
  <Words>177</Words>
  <Application>Microsoft Office PowerPoint</Application>
  <PresentationFormat>Bredbild</PresentationFormat>
  <Paragraphs>24</Paragraphs>
  <Slides>2</Slides>
  <Notes>1</Notes>
  <HiddenSlides>0</HiddenSlides>
  <MMClips>0</MMClips>
  <ScaleCrop>false</ScaleCrop>
  <HeadingPairs>
    <vt:vector size="8" baseType="variant">
      <vt:variant>
        <vt:lpstr>Använt teckensnitt</vt:lpstr>
      </vt:variant>
      <vt:variant>
        <vt:i4>2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2</vt:i4>
      </vt:variant>
    </vt:vector>
  </HeadingPairs>
  <TitlesOfParts>
    <vt:vector size="6" baseType="lpstr">
      <vt:lpstr>Arial</vt:lpstr>
      <vt:lpstr>Calibri</vt:lpstr>
      <vt:lpstr>Kronans</vt:lpstr>
      <vt:lpstr>think-cell Slide</vt:lpstr>
      <vt:lpstr>Nytt Sortiment  | Kronans Apotek På följande bilder ska orange text ersättas med rätt information och grå text ska vara kvar </vt:lpstr>
      <vt:lpstr> Nytt sortiment | Kronans Apotek | Revidering v.  </vt:lpstr>
    </vt:vector>
  </TitlesOfParts>
  <Company>Oriol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llin Andreas</dc:creator>
  <cp:lastModifiedBy>Maria Ståhl</cp:lastModifiedBy>
  <cp:revision>591</cp:revision>
  <dcterms:created xsi:type="dcterms:W3CDTF">2020-12-03T14:26:59Z</dcterms:created>
  <dcterms:modified xsi:type="dcterms:W3CDTF">2025-03-31T15:18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8130A3DA947324C9C8E1A6C97C92A9B</vt:lpwstr>
  </property>
  <property fmtid="{D5CDD505-2E9C-101B-9397-08002B2CF9AE}" pid="3" name="MediaServiceImageTags">
    <vt:lpwstr/>
  </property>
</Properties>
</file>